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diagrams/colors1.xml" ContentType="application/vnd.openxmlformats-officedocument.drawingml.diagramColors+xml"/>
  <Override PartName="/ppt/tags/tag6.xml" ContentType="application/vnd.openxmlformats-officedocument.presentationml.tags+xml"/>
  <Override PartName="/ppt/diagrams/drawing2.xml" ContentType="application/vnd.ms-office.drawingml.diagramDrawing+xml"/>
  <Override PartName="/ppt/tags/tag8.xml" ContentType="application/vnd.openxmlformats-officedocument.presentationml.tag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tags/tag16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tags/tag14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tags/tag12.xml" ContentType="application/vnd.openxmlformats-officedocument.presentationml.tags+xml"/>
  <Override PartName="/ppt/diagrams/colors6.xml" ContentType="application/vnd.openxmlformats-officedocument.drawingml.diagramColor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diagrams/colors4.xml" ContentType="application/vnd.openxmlformats-officedocument.drawingml.diagramColors+xml"/>
  <Override PartName="/ppt/tags/tag10.xml" ContentType="application/vnd.openxmlformats-officedocument.presentationml.tags+xml"/>
  <Override PartName="/ppt/diagrams/drawing5.xml" ContentType="application/vnd.ms-office.drawingml.diagramDrawing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Override PartName="/ppt/diagrams/quickStyle1.xml" ContentType="application/vnd.openxmlformats-officedocument.drawingml.diagramStyle+xml"/>
  <Default Extension="jpeg" ContentType="image/jpeg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diagrams/layout6.xml" ContentType="application/vnd.openxmlformats-officedocument.drawingml.diagram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diagrams/layout4.xml" ContentType="application/vnd.openxmlformats-officedocument.drawingml.diagramLayout+xml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Override PartName="/ppt/tags/tag15.xml" ContentType="application/vnd.openxmlformats-officedocument.presentationml.tags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drawing6.xml" ContentType="application/vnd.ms-office.drawingml.diagramDrawing+xml"/>
  <Override PartName="/ppt/tags/tag13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drawing4.xml" ContentType="application/vnd.ms-office.drawingml.diagramDrawing+xml"/>
  <Override PartName="/ppt/tags/tag11.xml" ContentType="application/vnd.openxmlformats-officedocument.presentationml.tags+xml"/>
  <Override PartName="/ppt/diagrams/quickStyle6.xml" ContentType="application/vnd.openxmlformats-officedocument.drawingml.diagramStyl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13" r:id="rId2"/>
  </p:sldMasterIdLst>
  <p:notesMasterIdLst>
    <p:notesMasterId r:id="rId15"/>
  </p:notesMasterIdLst>
  <p:handoutMasterIdLst>
    <p:handoutMasterId r:id="rId16"/>
  </p:handoutMasterIdLst>
  <p:sldIdLst>
    <p:sldId id="268" r:id="rId3"/>
    <p:sldId id="273" r:id="rId4"/>
    <p:sldId id="283" r:id="rId5"/>
    <p:sldId id="289" r:id="rId6"/>
    <p:sldId id="290" r:id="rId7"/>
    <p:sldId id="284" r:id="rId8"/>
    <p:sldId id="286" r:id="rId9"/>
    <p:sldId id="288" r:id="rId10"/>
    <p:sldId id="287" r:id="rId11"/>
    <p:sldId id="291" r:id="rId12"/>
    <p:sldId id="292" r:id="rId13"/>
    <p:sldId id="282" r:id="rId14"/>
  </p:sldIdLst>
  <p:sldSz cx="9144000" cy="6858000" type="screen4x3"/>
  <p:notesSz cx="7099300" cy="10234613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000"/>
    <a:srgbClr val="339933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 autoAdjust="0"/>
    <p:restoredTop sz="94654" autoAdjust="0"/>
  </p:normalViewPr>
  <p:slideViewPr>
    <p:cSldViewPr>
      <p:cViewPr>
        <p:scale>
          <a:sx n="100" d="100"/>
          <a:sy n="100" d="100"/>
        </p:scale>
        <p:origin x="-294" y="-28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image" Target="../media/image5.png"/><Relationship Id="rId4" Type="http://schemas.openxmlformats.org/officeDocument/2006/relationships/image" Target="../media/image8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#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FD4714C-16C4-4203-987E-69A558833868}" type="doc">
      <dgm:prSet loTypeId="urn:microsoft.com/office/officeart/2005/8/layout/lProcess3" loCatId="process" qsTypeId="urn:microsoft.com/office/officeart/2005/8/quickstyle/3d6" qsCatId="3D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364288A0-1AD7-4EA4-B590-4A4D4EECE478}">
      <dgm:prSet phldrT="[Текст]"/>
      <dgm:spPr/>
      <dgm:t>
        <a:bodyPr/>
        <a:lstStyle/>
        <a:p>
          <a:r>
            <a:rPr lang="ru-RU" dirty="0" smtClean="0"/>
            <a:t>Урегулирование убытков</a:t>
          </a:r>
          <a:endParaRPr lang="ru-RU" dirty="0"/>
        </a:p>
      </dgm:t>
    </dgm:pt>
    <dgm:pt modelId="{8B14213C-C18B-4981-AC6F-A594C224C601}" type="parTrans" cxnId="{C07B0CCF-CDBC-405C-B293-EB4E14B8F054}">
      <dgm:prSet/>
      <dgm:spPr/>
      <dgm:t>
        <a:bodyPr/>
        <a:lstStyle/>
        <a:p>
          <a:endParaRPr lang="ru-RU"/>
        </a:p>
      </dgm:t>
    </dgm:pt>
    <dgm:pt modelId="{9BB818A8-3B7E-4EA4-B123-7A6DAB6FF08E}" type="sibTrans" cxnId="{C07B0CCF-CDBC-405C-B293-EB4E14B8F054}">
      <dgm:prSet/>
      <dgm:spPr/>
      <dgm:t>
        <a:bodyPr/>
        <a:lstStyle/>
        <a:p>
          <a:endParaRPr lang="ru-RU"/>
        </a:p>
      </dgm:t>
    </dgm:pt>
    <dgm:pt modelId="{770AA498-443F-4297-BF03-22B2262153FB}">
      <dgm:prSet phldrT="[Текст]" custT="1"/>
      <dgm:spPr/>
      <dgm:t>
        <a:bodyPr/>
        <a:lstStyle/>
        <a:p>
          <a:r>
            <a:rPr lang="ru-RU" sz="1400" dirty="0" smtClean="0"/>
            <a:t>Без учета износа деталей транспортного средства</a:t>
          </a:r>
          <a:endParaRPr lang="ru-RU" sz="1400" dirty="0"/>
        </a:p>
      </dgm:t>
    </dgm:pt>
    <dgm:pt modelId="{FCE86B83-2BD4-4C70-AAC6-B060172446B1}" type="parTrans" cxnId="{A1890862-16CB-4DAC-AAB8-CA1D65984D78}">
      <dgm:prSet/>
      <dgm:spPr/>
      <dgm:t>
        <a:bodyPr/>
        <a:lstStyle/>
        <a:p>
          <a:endParaRPr lang="ru-RU"/>
        </a:p>
      </dgm:t>
    </dgm:pt>
    <dgm:pt modelId="{B04EC22C-2A5A-4820-BA39-4367E5028909}" type="sibTrans" cxnId="{A1890862-16CB-4DAC-AAB8-CA1D65984D78}">
      <dgm:prSet/>
      <dgm:spPr/>
      <dgm:t>
        <a:bodyPr/>
        <a:lstStyle/>
        <a:p>
          <a:endParaRPr lang="ru-RU"/>
        </a:p>
      </dgm:t>
    </dgm:pt>
    <dgm:pt modelId="{A5022A7B-4B04-4125-BC36-96EF2BE71513}">
      <dgm:prSet phldrT="[Текст]" custT="1"/>
      <dgm:spPr/>
      <dgm:t>
        <a:bodyPr/>
        <a:lstStyle/>
        <a:p>
          <a:r>
            <a:rPr lang="ru-RU" sz="1400" dirty="0" smtClean="0">
              <a:latin typeface="+mn-lt"/>
            </a:rPr>
            <a:t>Компенсация без учета количества и размера страховых случаев за период страхования</a:t>
          </a:r>
          <a:endParaRPr lang="ru-RU" sz="1400" dirty="0"/>
        </a:p>
      </dgm:t>
    </dgm:pt>
    <dgm:pt modelId="{A9699D07-DD7A-409C-8FFB-1C8DC77DB6D9}" type="parTrans" cxnId="{C0F63B01-1969-41F0-89A6-2D7D5224A284}">
      <dgm:prSet/>
      <dgm:spPr/>
      <dgm:t>
        <a:bodyPr/>
        <a:lstStyle/>
        <a:p>
          <a:endParaRPr lang="ru-RU"/>
        </a:p>
      </dgm:t>
    </dgm:pt>
    <dgm:pt modelId="{9C82DA19-28F8-4BAA-AB6F-8ABEFC8C9CE2}" type="sibTrans" cxnId="{C0F63B01-1969-41F0-89A6-2D7D5224A284}">
      <dgm:prSet/>
      <dgm:spPr/>
      <dgm:t>
        <a:bodyPr/>
        <a:lstStyle/>
        <a:p>
          <a:endParaRPr lang="ru-RU"/>
        </a:p>
      </dgm:t>
    </dgm:pt>
    <dgm:pt modelId="{DF096396-7981-49D2-B315-F899753EE44D}">
      <dgm:prSet phldrT="[Текст]"/>
      <dgm:spPr/>
      <dgm:t>
        <a:bodyPr/>
        <a:lstStyle/>
        <a:p>
          <a:r>
            <a:rPr lang="ru-RU" dirty="0" smtClean="0"/>
            <a:t>Выгодная система оплаты</a:t>
          </a:r>
          <a:endParaRPr lang="ru-RU" dirty="0"/>
        </a:p>
      </dgm:t>
    </dgm:pt>
    <dgm:pt modelId="{AFCC3D0C-51F0-4A3A-B43D-8EAA4C314507}" type="parTrans" cxnId="{6F1496FB-97A2-4121-8A6E-6B81B90CE406}">
      <dgm:prSet/>
      <dgm:spPr/>
      <dgm:t>
        <a:bodyPr/>
        <a:lstStyle/>
        <a:p>
          <a:endParaRPr lang="ru-RU"/>
        </a:p>
      </dgm:t>
    </dgm:pt>
    <dgm:pt modelId="{32C90C8E-9B4F-4D84-BDAD-194B47D6D090}" type="sibTrans" cxnId="{6F1496FB-97A2-4121-8A6E-6B81B90CE406}">
      <dgm:prSet/>
      <dgm:spPr/>
      <dgm:t>
        <a:bodyPr/>
        <a:lstStyle/>
        <a:p>
          <a:endParaRPr lang="ru-RU"/>
        </a:p>
      </dgm:t>
    </dgm:pt>
    <dgm:pt modelId="{ECA2E617-286A-4F37-AD6E-B53361FC85F7}">
      <dgm:prSet phldrT="[Текст]" custT="1"/>
      <dgm:spPr/>
      <dgm:t>
        <a:bodyPr/>
        <a:lstStyle/>
        <a:p>
          <a:r>
            <a:rPr lang="ru-RU" sz="1400" dirty="0" smtClean="0"/>
            <a:t>Возможность разделения платежа на три части без дополнительной платы</a:t>
          </a:r>
          <a:endParaRPr lang="ru-RU" sz="1400" dirty="0"/>
        </a:p>
      </dgm:t>
    </dgm:pt>
    <dgm:pt modelId="{7D79D2BF-740C-40AC-A75B-0666BFD5EA67}" type="parTrans" cxnId="{BDC7A981-722C-492A-910A-BBE456FB0790}">
      <dgm:prSet/>
      <dgm:spPr/>
      <dgm:t>
        <a:bodyPr/>
        <a:lstStyle/>
        <a:p>
          <a:endParaRPr lang="ru-RU"/>
        </a:p>
      </dgm:t>
    </dgm:pt>
    <dgm:pt modelId="{E8999BA4-438D-4A71-81FF-9E811A767506}" type="sibTrans" cxnId="{BDC7A981-722C-492A-910A-BBE456FB0790}">
      <dgm:prSet/>
      <dgm:spPr/>
      <dgm:t>
        <a:bodyPr/>
        <a:lstStyle/>
        <a:p>
          <a:endParaRPr lang="ru-RU"/>
        </a:p>
      </dgm:t>
    </dgm:pt>
    <dgm:pt modelId="{01DE27EB-0850-420A-A02E-B56BECD552D4}">
      <dgm:prSet phldrT="[Текст]" custT="1"/>
      <dgm:spPr/>
      <dgm:t>
        <a:bodyPr/>
        <a:lstStyle/>
        <a:p>
          <a:r>
            <a:rPr lang="ru-RU" sz="1400" dirty="0" smtClean="0"/>
            <a:t>Предоставление значительных скидок по тарифу для безубыточных клиентов</a:t>
          </a:r>
          <a:endParaRPr lang="ru-RU" sz="1400" dirty="0"/>
        </a:p>
      </dgm:t>
    </dgm:pt>
    <dgm:pt modelId="{AAFE7960-BCD4-4F91-9151-509EFE2D997B}" type="parTrans" cxnId="{3EF70A19-69D4-4ABF-AB4E-56C2479F02A4}">
      <dgm:prSet/>
      <dgm:spPr/>
      <dgm:t>
        <a:bodyPr/>
        <a:lstStyle/>
        <a:p>
          <a:endParaRPr lang="ru-RU"/>
        </a:p>
      </dgm:t>
    </dgm:pt>
    <dgm:pt modelId="{C49D22D4-FF7A-47B7-B3E7-D5B9115B19EB}" type="sibTrans" cxnId="{3EF70A19-69D4-4ABF-AB4E-56C2479F02A4}">
      <dgm:prSet/>
      <dgm:spPr/>
      <dgm:t>
        <a:bodyPr/>
        <a:lstStyle/>
        <a:p>
          <a:endParaRPr lang="ru-RU"/>
        </a:p>
      </dgm:t>
    </dgm:pt>
    <dgm:pt modelId="{2832A733-239D-4B0C-B9EA-C729F32BAE07}">
      <dgm:prSet phldrT="[Текст]"/>
      <dgm:spPr/>
      <dgm:t>
        <a:bodyPr/>
        <a:lstStyle/>
        <a:p>
          <a:r>
            <a:rPr lang="ru-RU" dirty="0" smtClean="0"/>
            <a:t>Широкая сервисная поддержка клиента</a:t>
          </a:r>
          <a:endParaRPr lang="ru-RU" dirty="0"/>
        </a:p>
      </dgm:t>
    </dgm:pt>
    <dgm:pt modelId="{EFDC13BB-B525-447B-9F0A-E4CCA07E1FAD}" type="parTrans" cxnId="{E2530083-070F-45AD-9DA2-6ADD5542584A}">
      <dgm:prSet/>
      <dgm:spPr/>
      <dgm:t>
        <a:bodyPr/>
        <a:lstStyle/>
        <a:p>
          <a:endParaRPr lang="ru-RU"/>
        </a:p>
      </dgm:t>
    </dgm:pt>
    <dgm:pt modelId="{C704DF47-724B-4CDE-9F6E-CE7D143955F2}" type="sibTrans" cxnId="{E2530083-070F-45AD-9DA2-6ADD5542584A}">
      <dgm:prSet/>
      <dgm:spPr/>
      <dgm:t>
        <a:bodyPr/>
        <a:lstStyle/>
        <a:p>
          <a:endParaRPr lang="ru-RU"/>
        </a:p>
      </dgm:t>
    </dgm:pt>
    <dgm:pt modelId="{E96CAFBC-4232-4CE7-8BAB-AAA23E582E70}">
      <dgm:prSet phldrT="[Текст]" custT="1"/>
      <dgm:spPr/>
      <dgm:t>
        <a:bodyPr/>
        <a:lstStyle/>
        <a:p>
          <a:r>
            <a:rPr lang="ru-RU" sz="1400" dirty="0" smtClean="0"/>
            <a:t>3 уровня сервисных программ (см Таб.1):</a:t>
          </a:r>
        </a:p>
        <a:p>
          <a:r>
            <a:rPr lang="ru-RU" sz="1400" dirty="0" smtClean="0"/>
            <a:t>- Стандарт</a:t>
          </a:r>
        </a:p>
        <a:p>
          <a:r>
            <a:rPr lang="ru-RU" sz="1400" dirty="0" smtClean="0"/>
            <a:t>-</a:t>
          </a:r>
          <a:r>
            <a:rPr lang="en-US" sz="1400" dirty="0" smtClean="0"/>
            <a:t> </a:t>
          </a:r>
          <a:r>
            <a:rPr lang="ru-RU" sz="1400" dirty="0" err="1" smtClean="0"/>
            <a:t>Премиум</a:t>
          </a:r>
          <a:endParaRPr lang="ru-RU" sz="1400" dirty="0" smtClean="0"/>
        </a:p>
        <a:p>
          <a:r>
            <a:rPr lang="ru-RU" sz="1400" dirty="0" smtClean="0"/>
            <a:t>- </a:t>
          </a:r>
          <a:r>
            <a:rPr lang="en-US" sz="1400" dirty="0" smtClean="0"/>
            <a:t>VIP</a:t>
          </a:r>
          <a:endParaRPr lang="ru-RU" sz="1400" dirty="0"/>
        </a:p>
      </dgm:t>
    </dgm:pt>
    <dgm:pt modelId="{4254D59A-2CF2-4AB8-AAF4-CF064D8F9636}" type="parTrans" cxnId="{96B5204C-D517-4A3F-8FB7-5F5CEFC5A0A0}">
      <dgm:prSet/>
      <dgm:spPr/>
      <dgm:t>
        <a:bodyPr/>
        <a:lstStyle/>
        <a:p>
          <a:endParaRPr lang="ru-RU"/>
        </a:p>
      </dgm:t>
    </dgm:pt>
    <dgm:pt modelId="{F9A137A6-1C1F-40BF-954D-C68E4F522E66}" type="sibTrans" cxnId="{96B5204C-D517-4A3F-8FB7-5F5CEFC5A0A0}">
      <dgm:prSet/>
      <dgm:spPr/>
      <dgm:t>
        <a:bodyPr/>
        <a:lstStyle/>
        <a:p>
          <a:endParaRPr lang="ru-RU"/>
        </a:p>
      </dgm:t>
    </dgm:pt>
    <dgm:pt modelId="{D8D741CA-11A5-4C84-A0F5-5A1B1EF0CA00}">
      <dgm:prSet phldrT="[Текст]"/>
      <dgm:spPr/>
      <dgm:t>
        <a:bodyPr/>
        <a:lstStyle/>
        <a:p>
          <a:r>
            <a:rPr lang="ru-RU" dirty="0" smtClean="0"/>
            <a:t>Дополнительно к пакету сервисной программы клиент может быть подключен к услугам службы «Ангел»</a:t>
          </a:r>
          <a:endParaRPr lang="ru-RU" dirty="0"/>
        </a:p>
      </dgm:t>
    </dgm:pt>
    <dgm:pt modelId="{B44A329E-2852-46B0-A0D7-39C4582B97F0}" type="parTrans" cxnId="{55F51A56-32AC-4E6C-9C7E-5DC4F03CA4AD}">
      <dgm:prSet/>
      <dgm:spPr/>
      <dgm:t>
        <a:bodyPr/>
        <a:lstStyle/>
        <a:p>
          <a:endParaRPr lang="ru-RU"/>
        </a:p>
      </dgm:t>
    </dgm:pt>
    <dgm:pt modelId="{B4B98230-4E3C-42FC-84B6-039950EC0971}" type="sibTrans" cxnId="{55F51A56-32AC-4E6C-9C7E-5DC4F03CA4AD}">
      <dgm:prSet/>
      <dgm:spPr/>
      <dgm:t>
        <a:bodyPr/>
        <a:lstStyle/>
        <a:p>
          <a:endParaRPr lang="ru-RU"/>
        </a:p>
      </dgm:t>
    </dgm:pt>
    <dgm:pt modelId="{4931CADC-669C-4F2C-8DB0-29091E05E70A}" type="pres">
      <dgm:prSet presAssocID="{3FD4714C-16C4-4203-987E-69A558833868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8522588E-75B7-43EE-B571-705BB0D61642}" type="pres">
      <dgm:prSet presAssocID="{364288A0-1AD7-4EA4-B590-4A4D4EECE478}" presName="horFlow" presStyleCnt="0"/>
      <dgm:spPr/>
    </dgm:pt>
    <dgm:pt modelId="{FB0AE21D-25BC-4573-BBB5-C9460D03C6B6}" type="pres">
      <dgm:prSet presAssocID="{364288A0-1AD7-4EA4-B590-4A4D4EECE478}" presName="bigChev" presStyleLbl="node1" presStyleIdx="0" presStyleCnt="3"/>
      <dgm:spPr/>
      <dgm:t>
        <a:bodyPr/>
        <a:lstStyle/>
        <a:p>
          <a:endParaRPr lang="ru-RU"/>
        </a:p>
      </dgm:t>
    </dgm:pt>
    <dgm:pt modelId="{83DDA5DC-7687-4FDB-B1DC-FB68B856470F}" type="pres">
      <dgm:prSet presAssocID="{FCE86B83-2BD4-4C70-AAC6-B060172446B1}" presName="parTrans" presStyleCnt="0"/>
      <dgm:spPr/>
    </dgm:pt>
    <dgm:pt modelId="{D36FBBAB-E1E7-4FBD-98EF-E386738FB062}" type="pres">
      <dgm:prSet presAssocID="{770AA498-443F-4297-BF03-22B2262153FB}" presName="node" presStyleLbl="alignAccFollowNode1" presStyleIdx="0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B85143D-6FAC-424F-ACAF-C989FC6D0428}" type="pres">
      <dgm:prSet presAssocID="{B04EC22C-2A5A-4820-BA39-4367E5028909}" presName="sibTrans" presStyleCnt="0"/>
      <dgm:spPr/>
    </dgm:pt>
    <dgm:pt modelId="{E97260D0-48B9-4664-9938-D97E00E5D71A}" type="pres">
      <dgm:prSet presAssocID="{A5022A7B-4B04-4125-BC36-96EF2BE71513}" presName="node" presStyleLbl="alignAccFollowNode1" presStyleIdx="1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D2E7EC6-CA88-4F18-B4F8-9A9CE2F3511C}" type="pres">
      <dgm:prSet presAssocID="{364288A0-1AD7-4EA4-B590-4A4D4EECE478}" presName="vSp" presStyleCnt="0"/>
      <dgm:spPr/>
    </dgm:pt>
    <dgm:pt modelId="{4082DC7C-3EC9-4556-9217-805FE2691C4A}" type="pres">
      <dgm:prSet presAssocID="{DF096396-7981-49D2-B315-F899753EE44D}" presName="horFlow" presStyleCnt="0"/>
      <dgm:spPr/>
    </dgm:pt>
    <dgm:pt modelId="{69E1CD58-4C35-4F78-9024-B9B64ABEC354}" type="pres">
      <dgm:prSet presAssocID="{DF096396-7981-49D2-B315-F899753EE44D}" presName="bigChev" presStyleLbl="node1" presStyleIdx="1" presStyleCnt="3"/>
      <dgm:spPr/>
      <dgm:t>
        <a:bodyPr/>
        <a:lstStyle/>
        <a:p>
          <a:endParaRPr lang="ru-RU"/>
        </a:p>
      </dgm:t>
    </dgm:pt>
    <dgm:pt modelId="{40F7E50A-C6FB-457E-A272-25F17EF0ABA3}" type="pres">
      <dgm:prSet presAssocID="{7D79D2BF-740C-40AC-A75B-0666BFD5EA67}" presName="parTrans" presStyleCnt="0"/>
      <dgm:spPr/>
    </dgm:pt>
    <dgm:pt modelId="{F0C98681-3DBA-4A3D-9E7C-C5AE887162C5}" type="pres">
      <dgm:prSet presAssocID="{ECA2E617-286A-4F37-AD6E-B53361FC85F7}" presName="node" presStyleLbl="alignAccFollowNode1" presStyleIdx="2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EF1FA11-56CA-4B6D-9B9B-F100AD735A9F}" type="pres">
      <dgm:prSet presAssocID="{E8999BA4-438D-4A71-81FF-9E811A767506}" presName="sibTrans" presStyleCnt="0"/>
      <dgm:spPr/>
    </dgm:pt>
    <dgm:pt modelId="{F7EB753C-6A10-4122-A2C5-A727A0038437}" type="pres">
      <dgm:prSet presAssocID="{01DE27EB-0850-420A-A02E-B56BECD552D4}" presName="node" presStyleLbl="alignAccFollowNode1" presStyleIdx="3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B36EA6B-A08B-4B1A-8F20-B222CFE2E452}" type="pres">
      <dgm:prSet presAssocID="{DF096396-7981-49D2-B315-F899753EE44D}" presName="vSp" presStyleCnt="0"/>
      <dgm:spPr/>
    </dgm:pt>
    <dgm:pt modelId="{DCA9EE84-FB92-4ECF-9CA1-8928D9CB53DA}" type="pres">
      <dgm:prSet presAssocID="{2832A733-239D-4B0C-B9EA-C729F32BAE07}" presName="horFlow" presStyleCnt="0"/>
      <dgm:spPr/>
    </dgm:pt>
    <dgm:pt modelId="{BE8518FB-F489-42BF-8885-BBF0E481F47F}" type="pres">
      <dgm:prSet presAssocID="{2832A733-239D-4B0C-B9EA-C729F32BAE07}" presName="bigChev" presStyleLbl="node1" presStyleIdx="2" presStyleCnt="3"/>
      <dgm:spPr/>
      <dgm:t>
        <a:bodyPr/>
        <a:lstStyle/>
        <a:p>
          <a:endParaRPr lang="ru-RU"/>
        </a:p>
      </dgm:t>
    </dgm:pt>
    <dgm:pt modelId="{A8C3655E-06DF-4F0D-82C4-3786344B9166}" type="pres">
      <dgm:prSet presAssocID="{4254D59A-2CF2-4AB8-AAF4-CF064D8F9636}" presName="parTrans" presStyleCnt="0"/>
      <dgm:spPr/>
    </dgm:pt>
    <dgm:pt modelId="{1B805D76-E985-4C1E-8E8E-85129A3B471D}" type="pres">
      <dgm:prSet presAssocID="{E96CAFBC-4232-4CE7-8BAB-AAA23E582E70}" presName="node" presStyleLbl="alignAccFollowNode1" presStyleIdx="4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7C7D683-2510-4D98-90E2-A5FCBDD9F6A3}" type="pres">
      <dgm:prSet presAssocID="{F9A137A6-1C1F-40BF-954D-C68E4F522E66}" presName="sibTrans" presStyleCnt="0"/>
      <dgm:spPr/>
    </dgm:pt>
    <dgm:pt modelId="{CC55D395-8CB1-4597-8C16-976B3D8AD84E}" type="pres">
      <dgm:prSet presAssocID="{D8D741CA-11A5-4C84-A0F5-5A1B1EF0CA00}" presName="node" presStyleLbl="alignAccFollowNode1" presStyleIdx="5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D5C33F3-A9CB-41C8-8229-E3D950CD2D8B}" type="presOf" srcId="{D8D741CA-11A5-4C84-A0F5-5A1B1EF0CA00}" destId="{CC55D395-8CB1-4597-8C16-976B3D8AD84E}" srcOrd="0" destOrd="0" presId="urn:microsoft.com/office/officeart/2005/8/layout/lProcess3"/>
    <dgm:cxn modelId="{8A8E3C0A-9ED4-45D3-B2BD-1B00AD2F5DE3}" type="presOf" srcId="{DF096396-7981-49D2-B315-F899753EE44D}" destId="{69E1CD58-4C35-4F78-9024-B9B64ABEC354}" srcOrd="0" destOrd="0" presId="urn:microsoft.com/office/officeart/2005/8/layout/lProcess3"/>
    <dgm:cxn modelId="{55F51A56-32AC-4E6C-9C7E-5DC4F03CA4AD}" srcId="{2832A733-239D-4B0C-B9EA-C729F32BAE07}" destId="{D8D741CA-11A5-4C84-A0F5-5A1B1EF0CA00}" srcOrd="1" destOrd="0" parTransId="{B44A329E-2852-46B0-A0D7-39C4582B97F0}" sibTransId="{B4B98230-4E3C-42FC-84B6-039950EC0971}"/>
    <dgm:cxn modelId="{A1890862-16CB-4DAC-AAB8-CA1D65984D78}" srcId="{364288A0-1AD7-4EA4-B590-4A4D4EECE478}" destId="{770AA498-443F-4297-BF03-22B2262153FB}" srcOrd="0" destOrd="0" parTransId="{FCE86B83-2BD4-4C70-AAC6-B060172446B1}" sibTransId="{B04EC22C-2A5A-4820-BA39-4367E5028909}"/>
    <dgm:cxn modelId="{C0F63B01-1969-41F0-89A6-2D7D5224A284}" srcId="{364288A0-1AD7-4EA4-B590-4A4D4EECE478}" destId="{A5022A7B-4B04-4125-BC36-96EF2BE71513}" srcOrd="1" destOrd="0" parTransId="{A9699D07-DD7A-409C-8FFB-1C8DC77DB6D9}" sibTransId="{9C82DA19-28F8-4BAA-AB6F-8ABEFC8C9CE2}"/>
    <dgm:cxn modelId="{85D1D3FF-C259-433C-942F-11CA82DD7982}" type="presOf" srcId="{2832A733-239D-4B0C-B9EA-C729F32BAE07}" destId="{BE8518FB-F489-42BF-8885-BBF0E481F47F}" srcOrd="0" destOrd="0" presId="urn:microsoft.com/office/officeart/2005/8/layout/lProcess3"/>
    <dgm:cxn modelId="{28B06694-FF96-497D-8FBB-831738717806}" type="presOf" srcId="{A5022A7B-4B04-4125-BC36-96EF2BE71513}" destId="{E97260D0-48B9-4664-9938-D97E00E5D71A}" srcOrd="0" destOrd="0" presId="urn:microsoft.com/office/officeart/2005/8/layout/lProcess3"/>
    <dgm:cxn modelId="{60E92427-BA6C-4B1E-85F4-13FAE9801F62}" type="presOf" srcId="{E96CAFBC-4232-4CE7-8BAB-AAA23E582E70}" destId="{1B805D76-E985-4C1E-8E8E-85129A3B471D}" srcOrd="0" destOrd="0" presId="urn:microsoft.com/office/officeart/2005/8/layout/lProcess3"/>
    <dgm:cxn modelId="{BDC7A981-722C-492A-910A-BBE456FB0790}" srcId="{DF096396-7981-49D2-B315-F899753EE44D}" destId="{ECA2E617-286A-4F37-AD6E-B53361FC85F7}" srcOrd="0" destOrd="0" parTransId="{7D79D2BF-740C-40AC-A75B-0666BFD5EA67}" sibTransId="{E8999BA4-438D-4A71-81FF-9E811A767506}"/>
    <dgm:cxn modelId="{1DD1647C-BC13-469F-87AB-DEDDEF303854}" type="presOf" srcId="{364288A0-1AD7-4EA4-B590-4A4D4EECE478}" destId="{FB0AE21D-25BC-4573-BBB5-C9460D03C6B6}" srcOrd="0" destOrd="0" presId="urn:microsoft.com/office/officeart/2005/8/layout/lProcess3"/>
    <dgm:cxn modelId="{00556FAA-7797-4522-9925-3D6CD53860CA}" type="presOf" srcId="{01DE27EB-0850-420A-A02E-B56BECD552D4}" destId="{F7EB753C-6A10-4122-A2C5-A727A0038437}" srcOrd="0" destOrd="0" presId="urn:microsoft.com/office/officeart/2005/8/layout/lProcess3"/>
    <dgm:cxn modelId="{9004578F-1F01-479D-8C58-B9575450F0A8}" type="presOf" srcId="{3FD4714C-16C4-4203-987E-69A558833868}" destId="{4931CADC-669C-4F2C-8DB0-29091E05E70A}" srcOrd="0" destOrd="0" presId="urn:microsoft.com/office/officeart/2005/8/layout/lProcess3"/>
    <dgm:cxn modelId="{F42EF871-F909-4E22-8ADE-708A7741A744}" type="presOf" srcId="{770AA498-443F-4297-BF03-22B2262153FB}" destId="{D36FBBAB-E1E7-4FBD-98EF-E386738FB062}" srcOrd="0" destOrd="0" presId="urn:microsoft.com/office/officeart/2005/8/layout/lProcess3"/>
    <dgm:cxn modelId="{96B5204C-D517-4A3F-8FB7-5F5CEFC5A0A0}" srcId="{2832A733-239D-4B0C-B9EA-C729F32BAE07}" destId="{E96CAFBC-4232-4CE7-8BAB-AAA23E582E70}" srcOrd="0" destOrd="0" parTransId="{4254D59A-2CF2-4AB8-AAF4-CF064D8F9636}" sibTransId="{F9A137A6-1C1F-40BF-954D-C68E4F522E66}"/>
    <dgm:cxn modelId="{3EF70A19-69D4-4ABF-AB4E-56C2479F02A4}" srcId="{DF096396-7981-49D2-B315-F899753EE44D}" destId="{01DE27EB-0850-420A-A02E-B56BECD552D4}" srcOrd="1" destOrd="0" parTransId="{AAFE7960-BCD4-4F91-9151-509EFE2D997B}" sibTransId="{C49D22D4-FF7A-47B7-B3E7-D5B9115B19EB}"/>
    <dgm:cxn modelId="{B1CFF6EE-167E-4D22-A018-8FB489D28E4E}" type="presOf" srcId="{ECA2E617-286A-4F37-AD6E-B53361FC85F7}" destId="{F0C98681-3DBA-4A3D-9E7C-C5AE887162C5}" srcOrd="0" destOrd="0" presId="urn:microsoft.com/office/officeart/2005/8/layout/lProcess3"/>
    <dgm:cxn modelId="{6F1496FB-97A2-4121-8A6E-6B81B90CE406}" srcId="{3FD4714C-16C4-4203-987E-69A558833868}" destId="{DF096396-7981-49D2-B315-F899753EE44D}" srcOrd="1" destOrd="0" parTransId="{AFCC3D0C-51F0-4A3A-B43D-8EAA4C314507}" sibTransId="{32C90C8E-9B4F-4D84-BDAD-194B47D6D090}"/>
    <dgm:cxn modelId="{E2530083-070F-45AD-9DA2-6ADD5542584A}" srcId="{3FD4714C-16C4-4203-987E-69A558833868}" destId="{2832A733-239D-4B0C-B9EA-C729F32BAE07}" srcOrd="2" destOrd="0" parTransId="{EFDC13BB-B525-447B-9F0A-E4CCA07E1FAD}" sibTransId="{C704DF47-724B-4CDE-9F6E-CE7D143955F2}"/>
    <dgm:cxn modelId="{C07B0CCF-CDBC-405C-B293-EB4E14B8F054}" srcId="{3FD4714C-16C4-4203-987E-69A558833868}" destId="{364288A0-1AD7-4EA4-B590-4A4D4EECE478}" srcOrd="0" destOrd="0" parTransId="{8B14213C-C18B-4981-AC6F-A594C224C601}" sibTransId="{9BB818A8-3B7E-4EA4-B123-7A6DAB6FF08E}"/>
    <dgm:cxn modelId="{ED45572E-DD8E-4771-9159-E97E3BCCA705}" type="presParOf" srcId="{4931CADC-669C-4F2C-8DB0-29091E05E70A}" destId="{8522588E-75B7-43EE-B571-705BB0D61642}" srcOrd="0" destOrd="0" presId="urn:microsoft.com/office/officeart/2005/8/layout/lProcess3"/>
    <dgm:cxn modelId="{30B1913D-2A68-4142-A440-2F0CD7957B52}" type="presParOf" srcId="{8522588E-75B7-43EE-B571-705BB0D61642}" destId="{FB0AE21D-25BC-4573-BBB5-C9460D03C6B6}" srcOrd="0" destOrd="0" presId="urn:microsoft.com/office/officeart/2005/8/layout/lProcess3"/>
    <dgm:cxn modelId="{094647A0-26D0-44F7-AF00-D0B235B691F2}" type="presParOf" srcId="{8522588E-75B7-43EE-B571-705BB0D61642}" destId="{83DDA5DC-7687-4FDB-B1DC-FB68B856470F}" srcOrd="1" destOrd="0" presId="urn:microsoft.com/office/officeart/2005/8/layout/lProcess3"/>
    <dgm:cxn modelId="{F8C95483-5C43-4D7A-A2F8-6243ADC1DA57}" type="presParOf" srcId="{8522588E-75B7-43EE-B571-705BB0D61642}" destId="{D36FBBAB-E1E7-4FBD-98EF-E386738FB062}" srcOrd="2" destOrd="0" presId="urn:microsoft.com/office/officeart/2005/8/layout/lProcess3"/>
    <dgm:cxn modelId="{9D029ADA-BCD2-4F93-BAB4-D5C66C5ABEAD}" type="presParOf" srcId="{8522588E-75B7-43EE-B571-705BB0D61642}" destId="{0B85143D-6FAC-424F-ACAF-C989FC6D0428}" srcOrd="3" destOrd="0" presId="urn:microsoft.com/office/officeart/2005/8/layout/lProcess3"/>
    <dgm:cxn modelId="{99C9DE18-51B3-4D4E-9967-607EE4E8BC42}" type="presParOf" srcId="{8522588E-75B7-43EE-B571-705BB0D61642}" destId="{E97260D0-48B9-4664-9938-D97E00E5D71A}" srcOrd="4" destOrd="0" presId="urn:microsoft.com/office/officeart/2005/8/layout/lProcess3"/>
    <dgm:cxn modelId="{7769F6F7-8520-4BBE-90A6-816BBFEC1674}" type="presParOf" srcId="{4931CADC-669C-4F2C-8DB0-29091E05E70A}" destId="{8D2E7EC6-CA88-4F18-B4F8-9A9CE2F3511C}" srcOrd="1" destOrd="0" presId="urn:microsoft.com/office/officeart/2005/8/layout/lProcess3"/>
    <dgm:cxn modelId="{290B832D-CC92-44F3-B233-13764EB68CCF}" type="presParOf" srcId="{4931CADC-669C-4F2C-8DB0-29091E05E70A}" destId="{4082DC7C-3EC9-4556-9217-805FE2691C4A}" srcOrd="2" destOrd="0" presId="urn:microsoft.com/office/officeart/2005/8/layout/lProcess3"/>
    <dgm:cxn modelId="{C561BA3F-F6C6-4DE4-B292-66693F243C44}" type="presParOf" srcId="{4082DC7C-3EC9-4556-9217-805FE2691C4A}" destId="{69E1CD58-4C35-4F78-9024-B9B64ABEC354}" srcOrd="0" destOrd="0" presId="urn:microsoft.com/office/officeart/2005/8/layout/lProcess3"/>
    <dgm:cxn modelId="{73215561-D54C-4DC6-B9BB-493F15E26F87}" type="presParOf" srcId="{4082DC7C-3EC9-4556-9217-805FE2691C4A}" destId="{40F7E50A-C6FB-457E-A272-25F17EF0ABA3}" srcOrd="1" destOrd="0" presId="urn:microsoft.com/office/officeart/2005/8/layout/lProcess3"/>
    <dgm:cxn modelId="{0999E3CD-21B6-4427-B097-63B54F5CE645}" type="presParOf" srcId="{4082DC7C-3EC9-4556-9217-805FE2691C4A}" destId="{F0C98681-3DBA-4A3D-9E7C-C5AE887162C5}" srcOrd="2" destOrd="0" presId="urn:microsoft.com/office/officeart/2005/8/layout/lProcess3"/>
    <dgm:cxn modelId="{8BE1CE49-7719-43F0-B23B-A41CDAB19619}" type="presParOf" srcId="{4082DC7C-3EC9-4556-9217-805FE2691C4A}" destId="{6EF1FA11-56CA-4B6D-9B9B-F100AD735A9F}" srcOrd="3" destOrd="0" presId="urn:microsoft.com/office/officeart/2005/8/layout/lProcess3"/>
    <dgm:cxn modelId="{46C98566-9CFF-48BA-B1EC-8F015C77595E}" type="presParOf" srcId="{4082DC7C-3EC9-4556-9217-805FE2691C4A}" destId="{F7EB753C-6A10-4122-A2C5-A727A0038437}" srcOrd="4" destOrd="0" presId="urn:microsoft.com/office/officeart/2005/8/layout/lProcess3"/>
    <dgm:cxn modelId="{E602C1B2-1C8D-4555-8487-A20162914BDD}" type="presParOf" srcId="{4931CADC-669C-4F2C-8DB0-29091E05E70A}" destId="{BB36EA6B-A08B-4B1A-8F20-B222CFE2E452}" srcOrd="3" destOrd="0" presId="urn:microsoft.com/office/officeart/2005/8/layout/lProcess3"/>
    <dgm:cxn modelId="{25E4FF7D-E4EF-4E1F-BEF2-12BAF75B03F2}" type="presParOf" srcId="{4931CADC-669C-4F2C-8DB0-29091E05E70A}" destId="{DCA9EE84-FB92-4ECF-9CA1-8928D9CB53DA}" srcOrd="4" destOrd="0" presId="urn:microsoft.com/office/officeart/2005/8/layout/lProcess3"/>
    <dgm:cxn modelId="{D99DAF7F-299C-4A99-BC33-66A0F45F2BAB}" type="presParOf" srcId="{DCA9EE84-FB92-4ECF-9CA1-8928D9CB53DA}" destId="{BE8518FB-F489-42BF-8885-BBF0E481F47F}" srcOrd="0" destOrd="0" presId="urn:microsoft.com/office/officeart/2005/8/layout/lProcess3"/>
    <dgm:cxn modelId="{10920E56-4CB2-487F-A210-F44ADAF553B2}" type="presParOf" srcId="{DCA9EE84-FB92-4ECF-9CA1-8928D9CB53DA}" destId="{A8C3655E-06DF-4F0D-82C4-3786344B9166}" srcOrd="1" destOrd="0" presId="urn:microsoft.com/office/officeart/2005/8/layout/lProcess3"/>
    <dgm:cxn modelId="{CD43E511-EC2C-482E-8002-16599860B306}" type="presParOf" srcId="{DCA9EE84-FB92-4ECF-9CA1-8928D9CB53DA}" destId="{1B805D76-E985-4C1E-8E8E-85129A3B471D}" srcOrd="2" destOrd="0" presId="urn:microsoft.com/office/officeart/2005/8/layout/lProcess3"/>
    <dgm:cxn modelId="{6B08D9AA-A413-4E90-9B19-E933D9C92693}" type="presParOf" srcId="{DCA9EE84-FB92-4ECF-9CA1-8928D9CB53DA}" destId="{E7C7D683-2510-4D98-90E2-A5FCBDD9F6A3}" srcOrd="3" destOrd="0" presId="urn:microsoft.com/office/officeart/2005/8/layout/lProcess3"/>
    <dgm:cxn modelId="{947A79A7-DDE4-4ADB-B9F1-0DD42464910D}" type="presParOf" srcId="{DCA9EE84-FB92-4ECF-9CA1-8928D9CB53DA}" destId="{CC55D395-8CB1-4597-8C16-976B3D8AD84E}" srcOrd="4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04CFB6A-1656-4318-9DD4-521B3BEE3031}" type="doc">
      <dgm:prSet loTypeId="urn:microsoft.com/office/officeart/2005/8/layout/lProcess1" loCatId="process" qsTypeId="urn:microsoft.com/office/officeart/2005/8/quickstyle/3d2" qsCatId="3D" csTypeId="urn:microsoft.com/office/officeart/2005/8/colors/accent1_3" csCatId="accent1" phldr="1"/>
      <dgm:spPr/>
      <dgm:t>
        <a:bodyPr/>
        <a:lstStyle/>
        <a:p>
          <a:endParaRPr lang="ru-RU"/>
        </a:p>
      </dgm:t>
    </dgm:pt>
    <dgm:pt modelId="{2937E39C-89A8-46C1-9C43-77A00E27A954}">
      <dgm:prSet phldrT="[Текст]" custT="1"/>
      <dgm:spPr/>
      <dgm:t>
        <a:bodyPr/>
        <a:lstStyle/>
        <a:p>
          <a:r>
            <a:rPr lang="ru-RU" sz="3000" dirty="0" smtClean="0"/>
            <a:t>Классический полис</a:t>
          </a:r>
          <a:endParaRPr lang="ru-RU" sz="3000" dirty="0"/>
        </a:p>
      </dgm:t>
    </dgm:pt>
    <dgm:pt modelId="{6310A56E-FE83-49A0-BB89-EF3A68E0CAFB}" type="parTrans" cxnId="{4AB16199-6913-4698-925C-CA4BA0309FBD}">
      <dgm:prSet/>
      <dgm:spPr/>
      <dgm:t>
        <a:bodyPr/>
        <a:lstStyle/>
        <a:p>
          <a:endParaRPr lang="ru-RU"/>
        </a:p>
      </dgm:t>
    </dgm:pt>
    <dgm:pt modelId="{3E045BDC-A987-4C26-9E3B-3DA20F1E1692}" type="sibTrans" cxnId="{4AB16199-6913-4698-925C-CA4BA0309FBD}">
      <dgm:prSet/>
      <dgm:spPr/>
      <dgm:t>
        <a:bodyPr/>
        <a:lstStyle/>
        <a:p>
          <a:endParaRPr lang="ru-RU"/>
        </a:p>
      </dgm:t>
    </dgm:pt>
    <dgm:pt modelId="{AE4EB947-E46E-4647-AFBF-6579E47033BB}">
      <dgm:prSet phldrT="[Текст]" custT="1"/>
      <dgm:spPr/>
      <dgm:t>
        <a:bodyPr/>
        <a:lstStyle/>
        <a:p>
          <a:r>
            <a:rPr lang="ru-RU" sz="1200" b="1" dirty="0" smtClean="0"/>
            <a:t>- Персональный договор под каждого клиента</a:t>
          </a:r>
        </a:p>
        <a:p>
          <a:r>
            <a:rPr lang="ru-RU" sz="1200" b="1" dirty="0" smtClean="0"/>
            <a:t>-  Подробный перечень страхуемого имущества</a:t>
          </a:r>
        </a:p>
        <a:p>
          <a:r>
            <a:rPr lang="ru-RU" sz="1200" b="1" dirty="0" smtClean="0"/>
            <a:t>- Страхование на действительную стоимость</a:t>
          </a:r>
        </a:p>
      </dgm:t>
    </dgm:pt>
    <dgm:pt modelId="{A151D4C2-AF74-4D2F-B686-505F58E4444A}" type="parTrans" cxnId="{F33B1672-302C-4DCF-9CAC-D29718364DD6}">
      <dgm:prSet/>
      <dgm:spPr/>
      <dgm:t>
        <a:bodyPr/>
        <a:lstStyle/>
        <a:p>
          <a:endParaRPr lang="ru-RU"/>
        </a:p>
      </dgm:t>
    </dgm:pt>
    <dgm:pt modelId="{E9DD5451-C622-446E-964D-ADDF4DC41BE6}" type="sibTrans" cxnId="{F33B1672-302C-4DCF-9CAC-D29718364DD6}">
      <dgm:prSet/>
      <dgm:spPr/>
      <dgm:t>
        <a:bodyPr/>
        <a:lstStyle/>
        <a:p>
          <a:endParaRPr lang="ru-RU"/>
        </a:p>
      </dgm:t>
    </dgm:pt>
    <dgm:pt modelId="{33EB930B-9E2B-4BE2-B9C0-9AB8A052D690}">
      <dgm:prSet phldrT="[Текст]"/>
      <dgm:spPr/>
      <dgm:t>
        <a:bodyPr/>
        <a:lstStyle/>
        <a:p>
          <a:r>
            <a:rPr lang="ru-RU" dirty="0" smtClean="0"/>
            <a:t>Коробочный продукт</a:t>
          </a:r>
          <a:endParaRPr lang="ru-RU" dirty="0"/>
        </a:p>
      </dgm:t>
    </dgm:pt>
    <dgm:pt modelId="{82D731C4-59CE-4BC8-A960-F2B639BDD942}" type="parTrans" cxnId="{01D4FA25-8461-452B-9806-4C8DA0CAD35B}">
      <dgm:prSet/>
      <dgm:spPr/>
      <dgm:t>
        <a:bodyPr/>
        <a:lstStyle/>
        <a:p>
          <a:endParaRPr lang="ru-RU"/>
        </a:p>
      </dgm:t>
    </dgm:pt>
    <dgm:pt modelId="{D294D818-79CD-48CC-BA33-EB8C05F039EA}" type="sibTrans" cxnId="{01D4FA25-8461-452B-9806-4C8DA0CAD35B}">
      <dgm:prSet/>
      <dgm:spPr/>
      <dgm:t>
        <a:bodyPr/>
        <a:lstStyle/>
        <a:p>
          <a:endParaRPr lang="ru-RU"/>
        </a:p>
      </dgm:t>
    </dgm:pt>
    <dgm:pt modelId="{C9915071-A136-4844-A438-BAF2F1B31E86}">
      <dgm:prSet phldrT="[Текст]"/>
      <dgm:spPr/>
      <dgm:t>
        <a:bodyPr/>
        <a:lstStyle/>
        <a:p>
          <a:r>
            <a:rPr lang="ru-RU" b="1" dirty="0" smtClean="0"/>
            <a:t>- Простой в оформлении договор</a:t>
          </a:r>
        </a:p>
        <a:p>
          <a:r>
            <a:rPr lang="ru-RU" b="1" dirty="0" smtClean="0"/>
            <a:t>- По каждому виду имущества установлен четкий лимит</a:t>
          </a:r>
        </a:p>
        <a:p>
          <a:r>
            <a:rPr lang="ru-RU" b="1" dirty="0" smtClean="0"/>
            <a:t>- Возможность страхования без осмотра</a:t>
          </a:r>
          <a:endParaRPr lang="ru-RU" b="1" dirty="0"/>
        </a:p>
      </dgm:t>
    </dgm:pt>
    <dgm:pt modelId="{B72FD9D6-625C-470D-ABB6-8EAED1C737BD}" type="parTrans" cxnId="{0D474204-321C-4ABB-868E-60516FCED974}">
      <dgm:prSet/>
      <dgm:spPr/>
      <dgm:t>
        <a:bodyPr/>
        <a:lstStyle/>
        <a:p>
          <a:endParaRPr lang="ru-RU"/>
        </a:p>
      </dgm:t>
    </dgm:pt>
    <dgm:pt modelId="{0376DDA3-837A-4F69-9DD2-C992E8FAF61E}" type="sibTrans" cxnId="{0D474204-321C-4ABB-868E-60516FCED974}">
      <dgm:prSet/>
      <dgm:spPr/>
      <dgm:t>
        <a:bodyPr/>
        <a:lstStyle/>
        <a:p>
          <a:endParaRPr lang="ru-RU"/>
        </a:p>
      </dgm:t>
    </dgm:pt>
    <dgm:pt modelId="{D54F746F-8DD6-4352-B3E1-972A984E99E8}" type="pres">
      <dgm:prSet presAssocID="{A04CFB6A-1656-4318-9DD4-521B3BEE3031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FD9F934-657A-4F8C-A756-9102E6B069A4}" type="pres">
      <dgm:prSet presAssocID="{2937E39C-89A8-46C1-9C43-77A00E27A954}" presName="vertFlow" presStyleCnt="0"/>
      <dgm:spPr/>
    </dgm:pt>
    <dgm:pt modelId="{E9A5673D-D8A6-4E4B-97A0-17666C7CD1B1}" type="pres">
      <dgm:prSet presAssocID="{2937E39C-89A8-46C1-9C43-77A00E27A954}" presName="header" presStyleLbl="node1" presStyleIdx="0" presStyleCnt="2"/>
      <dgm:spPr/>
      <dgm:t>
        <a:bodyPr/>
        <a:lstStyle/>
        <a:p>
          <a:endParaRPr lang="ru-RU"/>
        </a:p>
      </dgm:t>
    </dgm:pt>
    <dgm:pt modelId="{97B1B15A-F90A-4F45-AD11-AE52472E7F67}" type="pres">
      <dgm:prSet presAssocID="{A151D4C2-AF74-4D2F-B686-505F58E4444A}" presName="parTrans" presStyleLbl="sibTrans2D1" presStyleIdx="0" presStyleCnt="2"/>
      <dgm:spPr/>
      <dgm:t>
        <a:bodyPr/>
        <a:lstStyle/>
        <a:p>
          <a:endParaRPr lang="ru-RU"/>
        </a:p>
      </dgm:t>
    </dgm:pt>
    <dgm:pt modelId="{A25131FC-97EB-4691-A2DC-05140479F4A5}" type="pres">
      <dgm:prSet presAssocID="{AE4EB947-E46E-4647-AFBF-6579E47033BB}" presName="child" presStyleLbl="alignAccFollow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458BA3B-32EF-40C6-998B-D90961D88AB3}" type="pres">
      <dgm:prSet presAssocID="{2937E39C-89A8-46C1-9C43-77A00E27A954}" presName="hSp" presStyleCnt="0"/>
      <dgm:spPr/>
    </dgm:pt>
    <dgm:pt modelId="{51DE232B-541F-4986-9AB0-098BC63E072C}" type="pres">
      <dgm:prSet presAssocID="{33EB930B-9E2B-4BE2-B9C0-9AB8A052D690}" presName="vertFlow" presStyleCnt="0"/>
      <dgm:spPr/>
    </dgm:pt>
    <dgm:pt modelId="{C681F615-B91F-46BE-A747-182956CA8FE4}" type="pres">
      <dgm:prSet presAssocID="{33EB930B-9E2B-4BE2-B9C0-9AB8A052D690}" presName="header" presStyleLbl="node1" presStyleIdx="1" presStyleCnt="2"/>
      <dgm:spPr/>
      <dgm:t>
        <a:bodyPr/>
        <a:lstStyle/>
        <a:p>
          <a:endParaRPr lang="ru-RU"/>
        </a:p>
      </dgm:t>
    </dgm:pt>
    <dgm:pt modelId="{6F942D51-ADE3-473D-8DB6-D8AAD13DF12B}" type="pres">
      <dgm:prSet presAssocID="{B72FD9D6-625C-470D-ABB6-8EAED1C737BD}" presName="parTrans" presStyleLbl="sibTrans2D1" presStyleIdx="1" presStyleCnt="2"/>
      <dgm:spPr/>
      <dgm:t>
        <a:bodyPr/>
        <a:lstStyle/>
        <a:p>
          <a:endParaRPr lang="ru-RU"/>
        </a:p>
      </dgm:t>
    </dgm:pt>
    <dgm:pt modelId="{474CBB05-7560-4145-B908-8BDE4F20E816}" type="pres">
      <dgm:prSet presAssocID="{C9915071-A136-4844-A438-BAF2F1B31E86}" presName="child" presStyleLbl="alignAccFollow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D5410AA-5D0B-48DC-A784-FCC786A2C944}" type="presOf" srcId="{AE4EB947-E46E-4647-AFBF-6579E47033BB}" destId="{A25131FC-97EB-4691-A2DC-05140479F4A5}" srcOrd="0" destOrd="0" presId="urn:microsoft.com/office/officeart/2005/8/layout/lProcess1"/>
    <dgm:cxn modelId="{F2FA4FFB-60E0-4B32-AC90-6F6D90BD2CF2}" type="presOf" srcId="{B72FD9D6-625C-470D-ABB6-8EAED1C737BD}" destId="{6F942D51-ADE3-473D-8DB6-D8AAD13DF12B}" srcOrd="0" destOrd="0" presId="urn:microsoft.com/office/officeart/2005/8/layout/lProcess1"/>
    <dgm:cxn modelId="{F33B1672-302C-4DCF-9CAC-D29718364DD6}" srcId="{2937E39C-89A8-46C1-9C43-77A00E27A954}" destId="{AE4EB947-E46E-4647-AFBF-6579E47033BB}" srcOrd="0" destOrd="0" parTransId="{A151D4C2-AF74-4D2F-B686-505F58E4444A}" sibTransId="{E9DD5451-C622-446E-964D-ADDF4DC41BE6}"/>
    <dgm:cxn modelId="{9EB88EEB-C539-4653-B320-783308F71ECE}" type="presOf" srcId="{C9915071-A136-4844-A438-BAF2F1B31E86}" destId="{474CBB05-7560-4145-B908-8BDE4F20E816}" srcOrd="0" destOrd="0" presId="urn:microsoft.com/office/officeart/2005/8/layout/lProcess1"/>
    <dgm:cxn modelId="{02B421D3-3E4E-464A-ACF8-A093791A4E57}" type="presOf" srcId="{33EB930B-9E2B-4BE2-B9C0-9AB8A052D690}" destId="{C681F615-B91F-46BE-A747-182956CA8FE4}" srcOrd="0" destOrd="0" presId="urn:microsoft.com/office/officeart/2005/8/layout/lProcess1"/>
    <dgm:cxn modelId="{01D4FA25-8461-452B-9806-4C8DA0CAD35B}" srcId="{A04CFB6A-1656-4318-9DD4-521B3BEE3031}" destId="{33EB930B-9E2B-4BE2-B9C0-9AB8A052D690}" srcOrd="1" destOrd="0" parTransId="{82D731C4-59CE-4BC8-A960-F2B639BDD942}" sibTransId="{D294D818-79CD-48CC-BA33-EB8C05F039EA}"/>
    <dgm:cxn modelId="{4AB16199-6913-4698-925C-CA4BA0309FBD}" srcId="{A04CFB6A-1656-4318-9DD4-521B3BEE3031}" destId="{2937E39C-89A8-46C1-9C43-77A00E27A954}" srcOrd="0" destOrd="0" parTransId="{6310A56E-FE83-49A0-BB89-EF3A68E0CAFB}" sibTransId="{3E045BDC-A987-4C26-9E3B-3DA20F1E1692}"/>
    <dgm:cxn modelId="{51235037-D8D1-4CB6-81E5-20B4AB7682D8}" type="presOf" srcId="{2937E39C-89A8-46C1-9C43-77A00E27A954}" destId="{E9A5673D-D8A6-4E4B-97A0-17666C7CD1B1}" srcOrd="0" destOrd="0" presId="urn:microsoft.com/office/officeart/2005/8/layout/lProcess1"/>
    <dgm:cxn modelId="{70A535F9-A0D7-443F-A0A2-CC2FD22DEA65}" type="presOf" srcId="{A151D4C2-AF74-4D2F-B686-505F58E4444A}" destId="{97B1B15A-F90A-4F45-AD11-AE52472E7F67}" srcOrd="0" destOrd="0" presId="urn:microsoft.com/office/officeart/2005/8/layout/lProcess1"/>
    <dgm:cxn modelId="{0D474204-321C-4ABB-868E-60516FCED974}" srcId="{33EB930B-9E2B-4BE2-B9C0-9AB8A052D690}" destId="{C9915071-A136-4844-A438-BAF2F1B31E86}" srcOrd="0" destOrd="0" parTransId="{B72FD9D6-625C-470D-ABB6-8EAED1C737BD}" sibTransId="{0376DDA3-837A-4F69-9DD2-C992E8FAF61E}"/>
    <dgm:cxn modelId="{E036ED15-F4C0-4330-AF66-88A3FE481B6D}" type="presOf" srcId="{A04CFB6A-1656-4318-9DD4-521B3BEE3031}" destId="{D54F746F-8DD6-4352-B3E1-972A984E99E8}" srcOrd="0" destOrd="0" presId="urn:microsoft.com/office/officeart/2005/8/layout/lProcess1"/>
    <dgm:cxn modelId="{A22EFCFE-8125-4614-9FE0-39EFB367532E}" type="presParOf" srcId="{D54F746F-8DD6-4352-B3E1-972A984E99E8}" destId="{6FD9F934-657A-4F8C-A756-9102E6B069A4}" srcOrd="0" destOrd="0" presId="urn:microsoft.com/office/officeart/2005/8/layout/lProcess1"/>
    <dgm:cxn modelId="{847C0731-BBF0-43E3-A681-8BCE0B92717E}" type="presParOf" srcId="{6FD9F934-657A-4F8C-A756-9102E6B069A4}" destId="{E9A5673D-D8A6-4E4B-97A0-17666C7CD1B1}" srcOrd="0" destOrd="0" presId="urn:microsoft.com/office/officeart/2005/8/layout/lProcess1"/>
    <dgm:cxn modelId="{CE4E5697-5469-422F-8D86-D853B55D3B24}" type="presParOf" srcId="{6FD9F934-657A-4F8C-A756-9102E6B069A4}" destId="{97B1B15A-F90A-4F45-AD11-AE52472E7F67}" srcOrd="1" destOrd="0" presId="urn:microsoft.com/office/officeart/2005/8/layout/lProcess1"/>
    <dgm:cxn modelId="{846B53F5-5C2A-4C86-9D10-B1D2AD65C61E}" type="presParOf" srcId="{6FD9F934-657A-4F8C-A756-9102E6B069A4}" destId="{A25131FC-97EB-4691-A2DC-05140479F4A5}" srcOrd="2" destOrd="0" presId="urn:microsoft.com/office/officeart/2005/8/layout/lProcess1"/>
    <dgm:cxn modelId="{157C2D97-6EB2-44CC-B74E-E03FC02AFA76}" type="presParOf" srcId="{D54F746F-8DD6-4352-B3E1-972A984E99E8}" destId="{D458BA3B-32EF-40C6-998B-D90961D88AB3}" srcOrd="1" destOrd="0" presId="urn:microsoft.com/office/officeart/2005/8/layout/lProcess1"/>
    <dgm:cxn modelId="{E74CD9A1-E464-4929-9271-85EAF9EC905D}" type="presParOf" srcId="{D54F746F-8DD6-4352-B3E1-972A984E99E8}" destId="{51DE232B-541F-4986-9AB0-098BC63E072C}" srcOrd="2" destOrd="0" presId="urn:microsoft.com/office/officeart/2005/8/layout/lProcess1"/>
    <dgm:cxn modelId="{47A6EBBA-2B5D-421C-9A0F-5F47B151BF29}" type="presParOf" srcId="{51DE232B-541F-4986-9AB0-098BC63E072C}" destId="{C681F615-B91F-46BE-A747-182956CA8FE4}" srcOrd="0" destOrd="0" presId="urn:microsoft.com/office/officeart/2005/8/layout/lProcess1"/>
    <dgm:cxn modelId="{FA146262-651D-463B-9862-0698D6DC9677}" type="presParOf" srcId="{51DE232B-541F-4986-9AB0-098BC63E072C}" destId="{6F942D51-ADE3-473D-8DB6-D8AAD13DF12B}" srcOrd="1" destOrd="0" presId="urn:microsoft.com/office/officeart/2005/8/layout/lProcess1"/>
    <dgm:cxn modelId="{21BB86E7-1A22-47B1-83B5-2FEDB8E37AB8}" type="presParOf" srcId="{51DE232B-541F-4986-9AB0-098BC63E072C}" destId="{474CBB05-7560-4145-B908-8BDE4F20E816}" srcOrd="2" destOrd="0" presId="urn:microsoft.com/office/officeart/2005/8/layout/lProcess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B68DF90-3F81-40D9-9A95-20C395F0392A}" type="doc">
      <dgm:prSet loTypeId="urn:microsoft.com/office/officeart/2005/8/layout/hList1" loCatId="list" qsTypeId="urn:microsoft.com/office/officeart/2005/8/quickstyle/3d1" qsCatId="3D" csTypeId="urn:microsoft.com/office/officeart/2005/8/colors/accent1_5" csCatId="accent1" phldr="1"/>
      <dgm:spPr/>
      <dgm:t>
        <a:bodyPr/>
        <a:lstStyle/>
        <a:p>
          <a:endParaRPr lang="ru-RU"/>
        </a:p>
      </dgm:t>
    </dgm:pt>
    <dgm:pt modelId="{6EE4857E-C291-47CF-941F-7D2ED2E1D33C}">
      <dgm:prSet phldrT="[Текст]"/>
      <dgm:spPr/>
      <dgm:t>
        <a:bodyPr/>
        <a:lstStyle/>
        <a:p>
          <a:r>
            <a:rPr lang="ru-RU" b="1" dirty="0" smtClean="0"/>
            <a:t>Конструктивные элементы</a:t>
          </a:r>
          <a:endParaRPr lang="ru-RU" b="1" dirty="0"/>
        </a:p>
      </dgm:t>
    </dgm:pt>
    <dgm:pt modelId="{B748E13E-25ED-4898-9079-97CA9391E138}" type="parTrans" cxnId="{85E3100D-5D41-4939-902A-77117D01207C}">
      <dgm:prSet/>
      <dgm:spPr/>
      <dgm:t>
        <a:bodyPr/>
        <a:lstStyle/>
        <a:p>
          <a:endParaRPr lang="ru-RU"/>
        </a:p>
      </dgm:t>
    </dgm:pt>
    <dgm:pt modelId="{0A928B35-4763-46D0-A5A3-4098D181DF57}" type="sibTrans" cxnId="{85E3100D-5D41-4939-902A-77117D01207C}">
      <dgm:prSet/>
      <dgm:spPr/>
      <dgm:t>
        <a:bodyPr/>
        <a:lstStyle/>
        <a:p>
          <a:endParaRPr lang="ru-RU"/>
        </a:p>
      </dgm:t>
    </dgm:pt>
    <dgm:pt modelId="{D70F8F97-3793-41FF-A308-1EE09C3D2699}">
      <dgm:prSet phldrT="[Текст]"/>
      <dgm:spPr/>
      <dgm:t>
        <a:bodyPr/>
        <a:lstStyle/>
        <a:p>
          <a:r>
            <a:rPr lang="ru-RU" b="1" dirty="0" smtClean="0"/>
            <a:t>Внешние стены</a:t>
          </a:r>
          <a:endParaRPr lang="ru-RU" b="1" dirty="0"/>
        </a:p>
      </dgm:t>
    </dgm:pt>
    <dgm:pt modelId="{7C957713-83AF-436F-8EFB-A12810EF164B}" type="parTrans" cxnId="{F0D697B7-2327-46E0-B9C5-2F618ECC4612}">
      <dgm:prSet/>
      <dgm:spPr/>
      <dgm:t>
        <a:bodyPr/>
        <a:lstStyle/>
        <a:p>
          <a:endParaRPr lang="ru-RU"/>
        </a:p>
      </dgm:t>
    </dgm:pt>
    <dgm:pt modelId="{37990A00-3096-487B-9514-487483DA8057}" type="sibTrans" cxnId="{F0D697B7-2327-46E0-B9C5-2F618ECC4612}">
      <dgm:prSet/>
      <dgm:spPr/>
      <dgm:t>
        <a:bodyPr/>
        <a:lstStyle/>
        <a:p>
          <a:endParaRPr lang="ru-RU"/>
        </a:p>
      </dgm:t>
    </dgm:pt>
    <dgm:pt modelId="{CDBC8659-334C-4CC1-9F8D-5BA64244784F}">
      <dgm:prSet phldrT="[Текст]"/>
      <dgm:spPr/>
      <dgm:t>
        <a:bodyPr/>
        <a:lstStyle/>
        <a:p>
          <a:r>
            <a:rPr lang="ru-RU" b="1" dirty="0" smtClean="0"/>
            <a:t>Перегородки</a:t>
          </a:r>
          <a:endParaRPr lang="ru-RU" b="1" dirty="0"/>
        </a:p>
      </dgm:t>
    </dgm:pt>
    <dgm:pt modelId="{88F41610-F02C-4B26-AF66-10879ACDC1AA}" type="parTrans" cxnId="{723A8D9E-35F2-4BAE-8159-52FEC6BA8F76}">
      <dgm:prSet/>
      <dgm:spPr/>
      <dgm:t>
        <a:bodyPr/>
        <a:lstStyle/>
        <a:p>
          <a:endParaRPr lang="ru-RU"/>
        </a:p>
      </dgm:t>
    </dgm:pt>
    <dgm:pt modelId="{85412F06-E852-4222-8181-E47A3AFFCDD2}" type="sibTrans" cxnId="{723A8D9E-35F2-4BAE-8159-52FEC6BA8F76}">
      <dgm:prSet/>
      <dgm:spPr/>
      <dgm:t>
        <a:bodyPr/>
        <a:lstStyle/>
        <a:p>
          <a:endParaRPr lang="ru-RU"/>
        </a:p>
      </dgm:t>
    </dgm:pt>
    <dgm:pt modelId="{056B5B51-9E02-45E7-8C68-7EB58ED07529}">
      <dgm:prSet phldrT="[Текст]"/>
      <dgm:spPr/>
      <dgm:t>
        <a:bodyPr/>
        <a:lstStyle/>
        <a:p>
          <a:r>
            <a:rPr lang="ru-RU" b="1" dirty="0" smtClean="0"/>
            <a:t>Внутренняя и внешняя отделка</a:t>
          </a:r>
          <a:endParaRPr lang="ru-RU" b="1" dirty="0"/>
        </a:p>
      </dgm:t>
    </dgm:pt>
    <dgm:pt modelId="{BABBD57B-33A2-4DFC-A71F-492B4FC3BF40}" type="parTrans" cxnId="{54A5D705-D2F7-4FB4-AD9B-19AF2A21F702}">
      <dgm:prSet/>
      <dgm:spPr/>
      <dgm:t>
        <a:bodyPr/>
        <a:lstStyle/>
        <a:p>
          <a:endParaRPr lang="ru-RU"/>
        </a:p>
      </dgm:t>
    </dgm:pt>
    <dgm:pt modelId="{54AD07AD-761C-4EA8-947D-76EB4D499F31}" type="sibTrans" cxnId="{54A5D705-D2F7-4FB4-AD9B-19AF2A21F702}">
      <dgm:prSet/>
      <dgm:spPr/>
      <dgm:t>
        <a:bodyPr/>
        <a:lstStyle/>
        <a:p>
          <a:endParaRPr lang="ru-RU"/>
        </a:p>
      </dgm:t>
    </dgm:pt>
    <dgm:pt modelId="{7E73EEBF-0F17-430A-A710-C7313289FC45}">
      <dgm:prSet phldrT="[Текст]"/>
      <dgm:spPr/>
      <dgm:t>
        <a:bodyPr/>
        <a:lstStyle/>
        <a:p>
          <a:r>
            <a:rPr lang="ru-RU" b="1" dirty="0" smtClean="0"/>
            <a:t>В т.ч. Окна</a:t>
          </a:r>
          <a:endParaRPr lang="ru-RU" b="1" dirty="0"/>
        </a:p>
      </dgm:t>
    </dgm:pt>
    <dgm:pt modelId="{89580004-AEAD-4CAF-842C-687D0C40E902}" type="parTrans" cxnId="{03680CCD-3289-402C-A79B-C998103E2837}">
      <dgm:prSet/>
      <dgm:spPr/>
      <dgm:t>
        <a:bodyPr/>
        <a:lstStyle/>
        <a:p>
          <a:endParaRPr lang="ru-RU"/>
        </a:p>
      </dgm:t>
    </dgm:pt>
    <dgm:pt modelId="{DB1351F0-6FC0-4920-80DA-F7F4D6330450}" type="sibTrans" cxnId="{03680CCD-3289-402C-A79B-C998103E2837}">
      <dgm:prSet/>
      <dgm:spPr/>
      <dgm:t>
        <a:bodyPr/>
        <a:lstStyle/>
        <a:p>
          <a:endParaRPr lang="ru-RU"/>
        </a:p>
      </dgm:t>
    </dgm:pt>
    <dgm:pt modelId="{C1CF22C5-3FA2-4A49-AE43-DAF451046A24}">
      <dgm:prSet phldrT="[Текст]"/>
      <dgm:spPr/>
      <dgm:t>
        <a:bodyPr/>
        <a:lstStyle/>
        <a:p>
          <a:r>
            <a:rPr lang="ru-RU" b="1" dirty="0" smtClean="0"/>
            <a:t>Движимое имущество (по описи/без описи)</a:t>
          </a:r>
          <a:endParaRPr lang="ru-RU" b="1" dirty="0"/>
        </a:p>
      </dgm:t>
    </dgm:pt>
    <dgm:pt modelId="{EC94AD46-5F6F-4FA7-B002-4924C4A9643A}" type="parTrans" cxnId="{AD748F18-7862-4C55-8EB8-8E9D675D84A7}">
      <dgm:prSet/>
      <dgm:spPr/>
      <dgm:t>
        <a:bodyPr/>
        <a:lstStyle/>
        <a:p>
          <a:endParaRPr lang="ru-RU"/>
        </a:p>
      </dgm:t>
    </dgm:pt>
    <dgm:pt modelId="{6E7E0624-278B-43DA-98CE-7131B8040A48}" type="sibTrans" cxnId="{AD748F18-7862-4C55-8EB8-8E9D675D84A7}">
      <dgm:prSet/>
      <dgm:spPr/>
      <dgm:t>
        <a:bodyPr/>
        <a:lstStyle/>
        <a:p>
          <a:endParaRPr lang="ru-RU"/>
        </a:p>
      </dgm:t>
    </dgm:pt>
    <dgm:pt modelId="{5DA7AE09-7D36-43B3-8066-9C64BCA543CA}">
      <dgm:prSet phldrT="[Текст]"/>
      <dgm:spPr/>
      <dgm:t>
        <a:bodyPr/>
        <a:lstStyle/>
        <a:p>
          <a:r>
            <a:rPr lang="ru-RU" b="1" dirty="0" smtClean="0"/>
            <a:t>В т.ч. Антиквариат</a:t>
          </a:r>
          <a:endParaRPr lang="ru-RU" b="1" dirty="0"/>
        </a:p>
      </dgm:t>
    </dgm:pt>
    <dgm:pt modelId="{63277B92-E7FC-4D4A-B2EE-63C4FCE9523D}" type="parTrans" cxnId="{9CAC660A-EA31-4C44-A1ED-D8B498D133BB}">
      <dgm:prSet/>
      <dgm:spPr/>
      <dgm:t>
        <a:bodyPr/>
        <a:lstStyle/>
        <a:p>
          <a:endParaRPr lang="ru-RU"/>
        </a:p>
      </dgm:t>
    </dgm:pt>
    <dgm:pt modelId="{41599B99-0EDA-4F04-8009-0AC7987F0426}" type="sibTrans" cxnId="{9CAC660A-EA31-4C44-A1ED-D8B498D133BB}">
      <dgm:prSet/>
      <dgm:spPr/>
      <dgm:t>
        <a:bodyPr/>
        <a:lstStyle/>
        <a:p>
          <a:endParaRPr lang="ru-RU"/>
        </a:p>
      </dgm:t>
    </dgm:pt>
    <dgm:pt modelId="{9B1CD89D-5B43-4E4F-A978-1449E660F4D5}">
      <dgm:prSet phldrT="[Текст]"/>
      <dgm:spPr/>
      <dgm:t>
        <a:bodyPr/>
        <a:lstStyle/>
        <a:p>
          <a:r>
            <a:rPr lang="ru-RU" b="1" dirty="0" smtClean="0"/>
            <a:t>Ювелирные изделия</a:t>
          </a:r>
          <a:endParaRPr lang="ru-RU" b="1" dirty="0"/>
        </a:p>
      </dgm:t>
    </dgm:pt>
    <dgm:pt modelId="{BA15DD89-8A4E-47C0-81E3-2F7CA9ADD643}" type="parTrans" cxnId="{71CEA73D-A56F-48D1-A357-83B1376D062B}">
      <dgm:prSet/>
      <dgm:spPr/>
      <dgm:t>
        <a:bodyPr/>
        <a:lstStyle/>
        <a:p>
          <a:endParaRPr lang="ru-RU"/>
        </a:p>
      </dgm:t>
    </dgm:pt>
    <dgm:pt modelId="{57BB3A30-08E9-47E9-95CA-0A19DC939455}" type="sibTrans" cxnId="{71CEA73D-A56F-48D1-A357-83B1376D062B}">
      <dgm:prSet/>
      <dgm:spPr/>
      <dgm:t>
        <a:bodyPr/>
        <a:lstStyle/>
        <a:p>
          <a:endParaRPr lang="ru-RU"/>
        </a:p>
      </dgm:t>
    </dgm:pt>
    <dgm:pt modelId="{69AF4226-2BA2-4D27-9F44-EBB56BDDDB16}">
      <dgm:prSet phldrT="[Текст]"/>
      <dgm:spPr/>
      <dgm:t>
        <a:bodyPr/>
        <a:lstStyle/>
        <a:p>
          <a:r>
            <a:rPr lang="ru-RU" b="1" dirty="0" smtClean="0"/>
            <a:t>Гражданская ответственность</a:t>
          </a:r>
          <a:endParaRPr lang="ru-RU" b="1" dirty="0"/>
        </a:p>
      </dgm:t>
    </dgm:pt>
    <dgm:pt modelId="{3A94FD31-2DA8-4BB4-8BD3-8CDCBA09F89D}" type="parTrans" cxnId="{E37EB5B8-A52D-46F7-9456-AA58F69562F2}">
      <dgm:prSet/>
      <dgm:spPr/>
      <dgm:t>
        <a:bodyPr/>
        <a:lstStyle/>
        <a:p>
          <a:endParaRPr lang="ru-RU"/>
        </a:p>
      </dgm:t>
    </dgm:pt>
    <dgm:pt modelId="{B9BF4B24-0FBC-4DBF-9260-8E2214E4C2DA}" type="sibTrans" cxnId="{E37EB5B8-A52D-46F7-9456-AA58F69562F2}">
      <dgm:prSet/>
      <dgm:spPr/>
      <dgm:t>
        <a:bodyPr/>
        <a:lstStyle/>
        <a:p>
          <a:endParaRPr lang="ru-RU"/>
        </a:p>
      </dgm:t>
    </dgm:pt>
    <dgm:pt modelId="{AB69EFD8-E44E-4535-8371-8EE3F42FCE88}">
      <dgm:prSet phldrT="[Текст]"/>
      <dgm:spPr/>
      <dgm:t>
        <a:bodyPr/>
        <a:lstStyle/>
        <a:p>
          <a:r>
            <a:rPr lang="ru-RU" b="1" dirty="0" smtClean="0"/>
            <a:t>Перекрытия</a:t>
          </a:r>
          <a:endParaRPr lang="ru-RU" b="1" dirty="0"/>
        </a:p>
      </dgm:t>
    </dgm:pt>
    <dgm:pt modelId="{AFE2652A-3EC5-484A-B51A-334A494E345F}" type="parTrans" cxnId="{432E5F6E-8C63-418B-882A-281867BF3B70}">
      <dgm:prSet/>
      <dgm:spPr/>
      <dgm:t>
        <a:bodyPr/>
        <a:lstStyle/>
        <a:p>
          <a:endParaRPr lang="ru-RU"/>
        </a:p>
      </dgm:t>
    </dgm:pt>
    <dgm:pt modelId="{303B7788-1F23-42D0-9A86-8BE8B58AAB20}" type="sibTrans" cxnId="{432E5F6E-8C63-418B-882A-281867BF3B70}">
      <dgm:prSet/>
      <dgm:spPr/>
      <dgm:t>
        <a:bodyPr/>
        <a:lstStyle/>
        <a:p>
          <a:endParaRPr lang="ru-RU"/>
        </a:p>
      </dgm:t>
    </dgm:pt>
    <dgm:pt modelId="{5F6BE150-8FEB-4C6A-AD7B-D28CFFC4EDB2}">
      <dgm:prSet phldrT="[Текст]"/>
      <dgm:spPr/>
      <dgm:t>
        <a:bodyPr/>
        <a:lstStyle/>
        <a:p>
          <a:r>
            <a:rPr lang="ru-RU" b="1" dirty="0" smtClean="0"/>
            <a:t>Двери</a:t>
          </a:r>
          <a:endParaRPr lang="ru-RU" b="1" dirty="0"/>
        </a:p>
      </dgm:t>
    </dgm:pt>
    <dgm:pt modelId="{1F98DC93-ED1C-44CD-B62F-F3C4449BF2B6}" type="parTrans" cxnId="{983612E5-A9E5-42FE-85F2-7A8A5E4AB54F}">
      <dgm:prSet/>
      <dgm:spPr/>
      <dgm:t>
        <a:bodyPr/>
        <a:lstStyle/>
        <a:p>
          <a:endParaRPr lang="ru-RU"/>
        </a:p>
      </dgm:t>
    </dgm:pt>
    <dgm:pt modelId="{2EB47F09-2EA8-4E8F-8A50-7BC96099972A}" type="sibTrans" cxnId="{983612E5-A9E5-42FE-85F2-7A8A5E4AB54F}">
      <dgm:prSet/>
      <dgm:spPr/>
      <dgm:t>
        <a:bodyPr/>
        <a:lstStyle/>
        <a:p>
          <a:endParaRPr lang="ru-RU"/>
        </a:p>
      </dgm:t>
    </dgm:pt>
    <dgm:pt modelId="{D7C07E3A-ED09-479A-A68B-CA11F11B0090}">
      <dgm:prSet phldrT="[Текст]"/>
      <dgm:spPr/>
      <dgm:t>
        <a:bodyPr/>
        <a:lstStyle/>
        <a:p>
          <a:r>
            <a:rPr lang="ru-RU" b="1" dirty="0" smtClean="0"/>
            <a:t>Инженерное оборудование</a:t>
          </a:r>
          <a:endParaRPr lang="ru-RU" b="1" dirty="0"/>
        </a:p>
      </dgm:t>
    </dgm:pt>
    <dgm:pt modelId="{091FC3BF-38DA-4E4E-8925-1EA34CFF5EC7}" type="parTrans" cxnId="{3190928A-ECD1-475A-B0C8-0DC29FA94902}">
      <dgm:prSet/>
      <dgm:spPr/>
      <dgm:t>
        <a:bodyPr/>
        <a:lstStyle/>
        <a:p>
          <a:endParaRPr lang="ru-RU"/>
        </a:p>
      </dgm:t>
    </dgm:pt>
    <dgm:pt modelId="{DF09ED89-714D-417D-8A73-C09AE863F910}" type="sibTrans" cxnId="{3190928A-ECD1-475A-B0C8-0DC29FA94902}">
      <dgm:prSet/>
      <dgm:spPr/>
      <dgm:t>
        <a:bodyPr/>
        <a:lstStyle/>
        <a:p>
          <a:endParaRPr lang="ru-RU"/>
        </a:p>
      </dgm:t>
    </dgm:pt>
    <dgm:pt modelId="{B5386CA8-4AEF-4645-9322-52D98723C82A}">
      <dgm:prSet phldrT="[Текст]"/>
      <dgm:spPr/>
      <dgm:t>
        <a:bodyPr/>
        <a:lstStyle/>
        <a:p>
          <a:r>
            <a:rPr lang="ru-RU" b="1" dirty="0" smtClean="0"/>
            <a:t>Денежные средства</a:t>
          </a:r>
          <a:endParaRPr lang="ru-RU" b="1" dirty="0"/>
        </a:p>
      </dgm:t>
    </dgm:pt>
    <dgm:pt modelId="{59B7F447-503B-4FC0-86FB-6040C1341094}" type="parTrans" cxnId="{26BBEA0B-7180-42E2-9C70-DB3B8F31833F}">
      <dgm:prSet/>
      <dgm:spPr/>
      <dgm:t>
        <a:bodyPr/>
        <a:lstStyle/>
        <a:p>
          <a:endParaRPr lang="ru-RU"/>
        </a:p>
      </dgm:t>
    </dgm:pt>
    <dgm:pt modelId="{D3189753-548B-4BC5-8EF3-2011C2725EB0}" type="sibTrans" cxnId="{26BBEA0B-7180-42E2-9C70-DB3B8F31833F}">
      <dgm:prSet/>
      <dgm:spPr/>
      <dgm:t>
        <a:bodyPr/>
        <a:lstStyle/>
        <a:p>
          <a:endParaRPr lang="ru-RU"/>
        </a:p>
      </dgm:t>
    </dgm:pt>
    <dgm:pt modelId="{8804EF39-52F4-4123-B648-9F50A239792E}">
      <dgm:prSet phldrT="[Текст]"/>
      <dgm:spPr/>
      <dgm:t>
        <a:bodyPr/>
        <a:lstStyle/>
        <a:p>
          <a:r>
            <a:rPr lang="ru-RU" b="1" dirty="0" smtClean="0"/>
            <a:t>Растения</a:t>
          </a:r>
          <a:endParaRPr lang="ru-RU" b="1" dirty="0"/>
        </a:p>
      </dgm:t>
    </dgm:pt>
    <dgm:pt modelId="{4FA5CFF2-A129-4AE9-A3F1-FF53F538D04B}" type="parTrans" cxnId="{FB0E037F-35B1-4659-9EC8-43FB2E8AB2F5}">
      <dgm:prSet/>
      <dgm:spPr/>
      <dgm:t>
        <a:bodyPr/>
        <a:lstStyle/>
        <a:p>
          <a:endParaRPr lang="ru-RU"/>
        </a:p>
      </dgm:t>
    </dgm:pt>
    <dgm:pt modelId="{86B38A07-7F9B-4E12-AF3E-00338E830D79}" type="sibTrans" cxnId="{FB0E037F-35B1-4659-9EC8-43FB2E8AB2F5}">
      <dgm:prSet/>
      <dgm:spPr/>
      <dgm:t>
        <a:bodyPr/>
        <a:lstStyle/>
        <a:p>
          <a:endParaRPr lang="ru-RU"/>
        </a:p>
      </dgm:t>
    </dgm:pt>
    <dgm:pt modelId="{9D8E14FC-84DB-4D8E-A7BB-E7F9E67FFEB6}">
      <dgm:prSet phldrT="[Текст]"/>
      <dgm:spPr/>
      <dgm:t>
        <a:bodyPr/>
        <a:lstStyle/>
        <a:p>
          <a:r>
            <a:rPr lang="ru-RU" b="1" dirty="0" smtClean="0"/>
            <a:t>Перед третьими лицами</a:t>
          </a:r>
          <a:endParaRPr lang="ru-RU" b="1" dirty="0"/>
        </a:p>
      </dgm:t>
    </dgm:pt>
    <dgm:pt modelId="{9AA8AA71-381C-4BCA-8EA4-A6484EE47711}" type="parTrans" cxnId="{558D0E4F-3DFC-4685-B8EE-3F465F970C64}">
      <dgm:prSet/>
      <dgm:spPr/>
      <dgm:t>
        <a:bodyPr/>
        <a:lstStyle/>
        <a:p>
          <a:endParaRPr lang="ru-RU"/>
        </a:p>
      </dgm:t>
    </dgm:pt>
    <dgm:pt modelId="{6563705A-E3C2-4C41-A10A-4A36775DEE97}" type="sibTrans" cxnId="{558D0E4F-3DFC-4685-B8EE-3F465F970C64}">
      <dgm:prSet/>
      <dgm:spPr/>
      <dgm:t>
        <a:bodyPr/>
        <a:lstStyle/>
        <a:p>
          <a:endParaRPr lang="ru-RU"/>
        </a:p>
      </dgm:t>
    </dgm:pt>
    <dgm:pt modelId="{F6872AB2-B7DC-4599-BA15-F70D757D0E21}">
      <dgm:prSet phldrT="[Текст]"/>
      <dgm:spPr/>
      <dgm:t>
        <a:bodyPr/>
        <a:lstStyle/>
        <a:p>
          <a:r>
            <a:rPr lang="ru-RU" b="1" dirty="0" smtClean="0"/>
            <a:t>При проведении строительно-монтажных работ</a:t>
          </a:r>
          <a:endParaRPr lang="ru-RU" b="1" dirty="0"/>
        </a:p>
      </dgm:t>
    </dgm:pt>
    <dgm:pt modelId="{3BFD80DC-8C4A-49CD-82F3-500DFF266E96}" type="parTrans" cxnId="{5692960E-D9D9-4D9F-A11C-56A9AB43F0FD}">
      <dgm:prSet/>
      <dgm:spPr/>
      <dgm:t>
        <a:bodyPr/>
        <a:lstStyle/>
        <a:p>
          <a:endParaRPr lang="ru-RU"/>
        </a:p>
      </dgm:t>
    </dgm:pt>
    <dgm:pt modelId="{54A504F9-8A0F-4DE6-AB12-B913235384B6}" type="sibTrans" cxnId="{5692960E-D9D9-4D9F-A11C-56A9AB43F0FD}">
      <dgm:prSet/>
      <dgm:spPr/>
      <dgm:t>
        <a:bodyPr/>
        <a:lstStyle/>
        <a:p>
          <a:endParaRPr lang="ru-RU"/>
        </a:p>
      </dgm:t>
    </dgm:pt>
    <dgm:pt modelId="{1E436364-7966-449B-B7D7-CD7D9311AF50}">
      <dgm:prSet phldrT="[Текст]"/>
      <dgm:spPr/>
      <dgm:t>
        <a:bodyPr/>
        <a:lstStyle/>
        <a:p>
          <a:r>
            <a:rPr lang="ru-RU" b="1" dirty="0" smtClean="0"/>
            <a:t>При перепланировке</a:t>
          </a:r>
          <a:endParaRPr lang="ru-RU" b="1" dirty="0"/>
        </a:p>
      </dgm:t>
    </dgm:pt>
    <dgm:pt modelId="{7949B59D-F1E2-4B6B-A538-9DF61C8F8BF2}" type="parTrans" cxnId="{23CE619F-218A-4985-A501-D39021D3BD03}">
      <dgm:prSet/>
      <dgm:spPr/>
      <dgm:t>
        <a:bodyPr/>
        <a:lstStyle/>
        <a:p>
          <a:endParaRPr lang="ru-RU"/>
        </a:p>
      </dgm:t>
    </dgm:pt>
    <dgm:pt modelId="{E7CC2E67-BA21-42D7-B04E-F8ED225DFAAF}" type="sibTrans" cxnId="{23CE619F-218A-4985-A501-D39021D3BD03}">
      <dgm:prSet/>
      <dgm:spPr/>
      <dgm:t>
        <a:bodyPr/>
        <a:lstStyle/>
        <a:p>
          <a:endParaRPr lang="ru-RU"/>
        </a:p>
      </dgm:t>
    </dgm:pt>
    <dgm:pt modelId="{8A22345C-1C91-4ADD-A1D3-6BE6CD6A4E7A}" type="pres">
      <dgm:prSet presAssocID="{7B68DF90-3F81-40D9-9A95-20C395F0392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007B0CF-A19A-4B22-96E1-3D4A0DC273D8}" type="pres">
      <dgm:prSet presAssocID="{6EE4857E-C291-47CF-941F-7D2ED2E1D33C}" presName="composite" presStyleCnt="0"/>
      <dgm:spPr/>
    </dgm:pt>
    <dgm:pt modelId="{CF5E6683-4D06-4936-98B8-F1DAC4940208}" type="pres">
      <dgm:prSet presAssocID="{6EE4857E-C291-47CF-941F-7D2ED2E1D33C}" presName="parTx" presStyleLbl="align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94B0470-8A8F-4F92-B094-0205AD4562EF}" type="pres">
      <dgm:prSet presAssocID="{6EE4857E-C291-47CF-941F-7D2ED2E1D33C}" presName="desTx" presStyleLbl="align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2EC975F-642C-4C14-A1CD-68AF1C9AAE82}" type="pres">
      <dgm:prSet presAssocID="{0A928B35-4763-46D0-A5A3-4098D181DF57}" presName="space" presStyleCnt="0"/>
      <dgm:spPr/>
    </dgm:pt>
    <dgm:pt modelId="{43B56C0A-859C-44C9-9DE0-D150F46E0A8E}" type="pres">
      <dgm:prSet presAssocID="{056B5B51-9E02-45E7-8C68-7EB58ED07529}" presName="composite" presStyleCnt="0"/>
      <dgm:spPr/>
    </dgm:pt>
    <dgm:pt modelId="{DDE8093F-48EF-4839-8B8C-48FF02A1AFC5}" type="pres">
      <dgm:prSet presAssocID="{056B5B51-9E02-45E7-8C68-7EB58ED07529}" presName="parTx" presStyleLbl="align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658B121-6416-4A0C-8F2C-3BA3FFBB32B1}" type="pres">
      <dgm:prSet presAssocID="{056B5B51-9E02-45E7-8C68-7EB58ED07529}" presName="desTx" presStyleLbl="align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0126CCD-E396-4B22-840C-680282BDA338}" type="pres">
      <dgm:prSet presAssocID="{54AD07AD-761C-4EA8-947D-76EB4D499F31}" presName="space" presStyleCnt="0"/>
      <dgm:spPr/>
    </dgm:pt>
    <dgm:pt modelId="{0B945D83-2929-4F9B-8110-8623BD3909AE}" type="pres">
      <dgm:prSet presAssocID="{C1CF22C5-3FA2-4A49-AE43-DAF451046A24}" presName="composite" presStyleCnt="0"/>
      <dgm:spPr/>
    </dgm:pt>
    <dgm:pt modelId="{FC40F779-A759-4ECA-8788-D392EB56E084}" type="pres">
      <dgm:prSet presAssocID="{C1CF22C5-3FA2-4A49-AE43-DAF451046A24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339B919-BDF3-4F95-B765-7BA002982171}" type="pres">
      <dgm:prSet presAssocID="{C1CF22C5-3FA2-4A49-AE43-DAF451046A24}" presName="desTx" presStyleLbl="align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B65A7F4-1BE1-4259-9173-DAC0E075824C}" type="pres">
      <dgm:prSet presAssocID="{6E7E0624-278B-43DA-98CE-7131B8040A48}" presName="space" presStyleCnt="0"/>
      <dgm:spPr/>
    </dgm:pt>
    <dgm:pt modelId="{7D473B60-0A97-4647-B54C-090427404534}" type="pres">
      <dgm:prSet presAssocID="{69AF4226-2BA2-4D27-9F44-EBB56BDDDB16}" presName="composite" presStyleCnt="0"/>
      <dgm:spPr/>
    </dgm:pt>
    <dgm:pt modelId="{0655B485-3DD0-440A-8830-3F5C6E19157A}" type="pres">
      <dgm:prSet presAssocID="{69AF4226-2BA2-4D27-9F44-EBB56BDDDB16}" presName="parTx" presStyleLbl="align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DE3FE7C-1C63-482C-BD0B-E684EBA18456}" type="pres">
      <dgm:prSet presAssocID="{69AF4226-2BA2-4D27-9F44-EBB56BDDDB16}" presName="desTx" presStyleLbl="align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11E0EE1-FE48-42EC-841F-BD1184F495A3}" type="presOf" srcId="{69AF4226-2BA2-4D27-9F44-EBB56BDDDB16}" destId="{0655B485-3DD0-440A-8830-3F5C6E19157A}" srcOrd="0" destOrd="0" presId="urn:microsoft.com/office/officeart/2005/8/layout/hList1"/>
    <dgm:cxn modelId="{FDD8188E-22E6-43A9-89BE-95E3ABD02078}" type="presOf" srcId="{D70F8F97-3793-41FF-A308-1EE09C3D2699}" destId="{394B0470-8A8F-4F92-B094-0205AD4562EF}" srcOrd="0" destOrd="0" presId="urn:microsoft.com/office/officeart/2005/8/layout/hList1"/>
    <dgm:cxn modelId="{31F24D47-AA47-4723-BC62-B7BFB76ED9BB}" type="presOf" srcId="{7E73EEBF-0F17-430A-A710-C7313289FC45}" destId="{C658B121-6416-4A0C-8F2C-3BA3FFBB32B1}" srcOrd="0" destOrd="0" presId="urn:microsoft.com/office/officeart/2005/8/layout/hList1"/>
    <dgm:cxn modelId="{76FD52EF-5F92-489B-A51D-B27444FDB95A}" type="presOf" srcId="{C1CF22C5-3FA2-4A49-AE43-DAF451046A24}" destId="{FC40F779-A759-4ECA-8788-D392EB56E084}" srcOrd="0" destOrd="0" presId="urn:microsoft.com/office/officeart/2005/8/layout/hList1"/>
    <dgm:cxn modelId="{3190928A-ECD1-475A-B0C8-0DC29FA94902}" srcId="{056B5B51-9E02-45E7-8C68-7EB58ED07529}" destId="{D7C07E3A-ED09-479A-A68B-CA11F11B0090}" srcOrd="2" destOrd="0" parTransId="{091FC3BF-38DA-4E4E-8925-1EA34CFF5EC7}" sibTransId="{DF09ED89-714D-417D-8A73-C09AE863F910}"/>
    <dgm:cxn modelId="{BBB53933-CBB4-4ADD-A74B-66FF687478EA}" type="presOf" srcId="{5F6BE150-8FEB-4C6A-AD7B-D28CFFC4EDB2}" destId="{C658B121-6416-4A0C-8F2C-3BA3FFBB32B1}" srcOrd="0" destOrd="1" presId="urn:microsoft.com/office/officeart/2005/8/layout/hList1"/>
    <dgm:cxn modelId="{77D084A1-76E0-4C5B-BD1D-659A712B9F44}" type="presOf" srcId="{CDBC8659-334C-4CC1-9F8D-5BA64244784F}" destId="{394B0470-8A8F-4F92-B094-0205AD4562EF}" srcOrd="0" destOrd="1" presId="urn:microsoft.com/office/officeart/2005/8/layout/hList1"/>
    <dgm:cxn modelId="{983612E5-A9E5-42FE-85F2-7A8A5E4AB54F}" srcId="{056B5B51-9E02-45E7-8C68-7EB58ED07529}" destId="{5F6BE150-8FEB-4C6A-AD7B-D28CFFC4EDB2}" srcOrd="1" destOrd="0" parTransId="{1F98DC93-ED1C-44CD-B62F-F3C4449BF2B6}" sibTransId="{2EB47F09-2EA8-4E8F-8A50-7BC96099972A}"/>
    <dgm:cxn modelId="{45C95C1B-65E6-4182-911C-3D35B56006B4}" type="presOf" srcId="{056B5B51-9E02-45E7-8C68-7EB58ED07529}" destId="{DDE8093F-48EF-4839-8B8C-48FF02A1AFC5}" srcOrd="0" destOrd="0" presId="urn:microsoft.com/office/officeart/2005/8/layout/hList1"/>
    <dgm:cxn modelId="{71CEA73D-A56F-48D1-A357-83B1376D062B}" srcId="{C1CF22C5-3FA2-4A49-AE43-DAF451046A24}" destId="{9B1CD89D-5B43-4E4F-A978-1449E660F4D5}" srcOrd="1" destOrd="0" parTransId="{BA15DD89-8A4E-47C0-81E3-2F7CA9ADD643}" sibTransId="{57BB3A30-08E9-47E9-95CA-0A19DC939455}"/>
    <dgm:cxn modelId="{B3945621-1E19-4C61-9E36-3DDBF48E22F8}" type="presOf" srcId="{AB69EFD8-E44E-4535-8371-8EE3F42FCE88}" destId="{394B0470-8A8F-4F92-B094-0205AD4562EF}" srcOrd="0" destOrd="2" presId="urn:microsoft.com/office/officeart/2005/8/layout/hList1"/>
    <dgm:cxn modelId="{723A8D9E-35F2-4BAE-8159-52FEC6BA8F76}" srcId="{6EE4857E-C291-47CF-941F-7D2ED2E1D33C}" destId="{CDBC8659-334C-4CC1-9F8D-5BA64244784F}" srcOrd="1" destOrd="0" parTransId="{88F41610-F02C-4B26-AF66-10879ACDC1AA}" sibTransId="{85412F06-E852-4222-8181-E47A3AFFCDD2}"/>
    <dgm:cxn modelId="{E37EB5B8-A52D-46F7-9456-AA58F69562F2}" srcId="{7B68DF90-3F81-40D9-9A95-20C395F0392A}" destId="{69AF4226-2BA2-4D27-9F44-EBB56BDDDB16}" srcOrd="3" destOrd="0" parTransId="{3A94FD31-2DA8-4BB4-8BD3-8CDCBA09F89D}" sibTransId="{B9BF4B24-0FBC-4DBF-9260-8E2214E4C2DA}"/>
    <dgm:cxn modelId="{9CAC660A-EA31-4C44-A1ED-D8B498D133BB}" srcId="{C1CF22C5-3FA2-4A49-AE43-DAF451046A24}" destId="{5DA7AE09-7D36-43B3-8066-9C64BCA543CA}" srcOrd="0" destOrd="0" parTransId="{63277B92-E7FC-4D4A-B2EE-63C4FCE9523D}" sibTransId="{41599B99-0EDA-4F04-8009-0AC7987F0426}"/>
    <dgm:cxn modelId="{4B8EAFE4-C080-4596-AD2A-9A0ECEC9AB42}" type="presOf" srcId="{B5386CA8-4AEF-4645-9322-52D98723C82A}" destId="{6339B919-BDF3-4F95-B765-7BA002982171}" srcOrd="0" destOrd="2" presId="urn:microsoft.com/office/officeart/2005/8/layout/hList1"/>
    <dgm:cxn modelId="{03680CCD-3289-402C-A79B-C998103E2837}" srcId="{056B5B51-9E02-45E7-8C68-7EB58ED07529}" destId="{7E73EEBF-0F17-430A-A710-C7313289FC45}" srcOrd="0" destOrd="0" parTransId="{89580004-AEAD-4CAF-842C-687D0C40E902}" sibTransId="{DB1351F0-6FC0-4920-80DA-F7F4D6330450}"/>
    <dgm:cxn modelId="{558D0E4F-3DFC-4685-B8EE-3F465F970C64}" srcId="{69AF4226-2BA2-4D27-9F44-EBB56BDDDB16}" destId="{9D8E14FC-84DB-4D8E-A7BB-E7F9E67FFEB6}" srcOrd="0" destOrd="0" parTransId="{9AA8AA71-381C-4BCA-8EA4-A6484EE47711}" sibTransId="{6563705A-E3C2-4C41-A10A-4A36775DEE97}"/>
    <dgm:cxn modelId="{54A5D705-D2F7-4FB4-AD9B-19AF2A21F702}" srcId="{7B68DF90-3F81-40D9-9A95-20C395F0392A}" destId="{056B5B51-9E02-45E7-8C68-7EB58ED07529}" srcOrd="1" destOrd="0" parTransId="{BABBD57B-33A2-4DFC-A71F-492B4FC3BF40}" sibTransId="{54AD07AD-761C-4EA8-947D-76EB4D499F31}"/>
    <dgm:cxn modelId="{F0D697B7-2327-46E0-B9C5-2F618ECC4612}" srcId="{6EE4857E-C291-47CF-941F-7D2ED2E1D33C}" destId="{D70F8F97-3793-41FF-A308-1EE09C3D2699}" srcOrd="0" destOrd="0" parTransId="{7C957713-83AF-436F-8EFB-A12810EF164B}" sibTransId="{37990A00-3096-487B-9514-487483DA8057}"/>
    <dgm:cxn modelId="{85E3100D-5D41-4939-902A-77117D01207C}" srcId="{7B68DF90-3F81-40D9-9A95-20C395F0392A}" destId="{6EE4857E-C291-47CF-941F-7D2ED2E1D33C}" srcOrd="0" destOrd="0" parTransId="{B748E13E-25ED-4898-9079-97CA9391E138}" sibTransId="{0A928B35-4763-46D0-A5A3-4098D181DF57}"/>
    <dgm:cxn modelId="{D95ADCB5-E973-43D3-802B-49F5338ADF68}" type="presOf" srcId="{5DA7AE09-7D36-43B3-8066-9C64BCA543CA}" destId="{6339B919-BDF3-4F95-B765-7BA002982171}" srcOrd="0" destOrd="0" presId="urn:microsoft.com/office/officeart/2005/8/layout/hList1"/>
    <dgm:cxn modelId="{86397629-67DA-4483-ADFD-43B46E6E6625}" type="presOf" srcId="{D7C07E3A-ED09-479A-A68B-CA11F11B0090}" destId="{C658B121-6416-4A0C-8F2C-3BA3FFBB32B1}" srcOrd="0" destOrd="2" presId="urn:microsoft.com/office/officeart/2005/8/layout/hList1"/>
    <dgm:cxn modelId="{1D93EB81-2B8A-4060-96B7-7B62D00A9336}" type="presOf" srcId="{8804EF39-52F4-4123-B648-9F50A239792E}" destId="{6339B919-BDF3-4F95-B765-7BA002982171}" srcOrd="0" destOrd="3" presId="urn:microsoft.com/office/officeart/2005/8/layout/hList1"/>
    <dgm:cxn modelId="{1AF9CEC1-DE73-4847-89F4-4EA41BE4AE15}" type="presOf" srcId="{1E436364-7966-449B-B7D7-CD7D9311AF50}" destId="{2DE3FE7C-1C63-482C-BD0B-E684EBA18456}" srcOrd="0" destOrd="2" presId="urn:microsoft.com/office/officeart/2005/8/layout/hList1"/>
    <dgm:cxn modelId="{432E5F6E-8C63-418B-882A-281867BF3B70}" srcId="{6EE4857E-C291-47CF-941F-7D2ED2E1D33C}" destId="{AB69EFD8-E44E-4535-8371-8EE3F42FCE88}" srcOrd="2" destOrd="0" parTransId="{AFE2652A-3EC5-484A-B51A-334A494E345F}" sibTransId="{303B7788-1F23-42D0-9A86-8BE8B58AAB20}"/>
    <dgm:cxn modelId="{779F4391-87FD-4032-B6E5-9FD881C7B5B4}" type="presOf" srcId="{9D8E14FC-84DB-4D8E-A7BB-E7F9E67FFEB6}" destId="{2DE3FE7C-1C63-482C-BD0B-E684EBA18456}" srcOrd="0" destOrd="0" presId="urn:microsoft.com/office/officeart/2005/8/layout/hList1"/>
    <dgm:cxn modelId="{4EEE8DF4-F292-4CB5-92B7-CC996E1BD73F}" type="presOf" srcId="{9B1CD89D-5B43-4E4F-A978-1449E660F4D5}" destId="{6339B919-BDF3-4F95-B765-7BA002982171}" srcOrd="0" destOrd="1" presId="urn:microsoft.com/office/officeart/2005/8/layout/hList1"/>
    <dgm:cxn modelId="{26BBEA0B-7180-42E2-9C70-DB3B8F31833F}" srcId="{C1CF22C5-3FA2-4A49-AE43-DAF451046A24}" destId="{B5386CA8-4AEF-4645-9322-52D98723C82A}" srcOrd="2" destOrd="0" parTransId="{59B7F447-503B-4FC0-86FB-6040C1341094}" sibTransId="{D3189753-548B-4BC5-8EF3-2011C2725EB0}"/>
    <dgm:cxn modelId="{ED7C41D4-16D9-4433-99DE-27748652D3D9}" type="presOf" srcId="{6EE4857E-C291-47CF-941F-7D2ED2E1D33C}" destId="{CF5E6683-4D06-4936-98B8-F1DAC4940208}" srcOrd="0" destOrd="0" presId="urn:microsoft.com/office/officeart/2005/8/layout/hList1"/>
    <dgm:cxn modelId="{11A7C61D-0FB5-4CBD-B944-3EA75F0F543D}" type="presOf" srcId="{7B68DF90-3F81-40D9-9A95-20C395F0392A}" destId="{8A22345C-1C91-4ADD-A1D3-6BE6CD6A4E7A}" srcOrd="0" destOrd="0" presId="urn:microsoft.com/office/officeart/2005/8/layout/hList1"/>
    <dgm:cxn modelId="{FAD54D55-1FDE-4E93-BE35-4269B0C4054A}" type="presOf" srcId="{F6872AB2-B7DC-4599-BA15-F70D757D0E21}" destId="{2DE3FE7C-1C63-482C-BD0B-E684EBA18456}" srcOrd="0" destOrd="1" presId="urn:microsoft.com/office/officeart/2005/8/layout/hList1"/>
    <dgm:cxn modelId="{5692960E-D9D9-4D9F-A11C-56A9AB43F0FD}" srcId="{69AF4226-2BA2-4D27-9F44-EBB56BDDDB16}" destId="{F6872AB2-B7DC-4599-BA15-F70D757D0E21}" srcOrd="1" destOrd="0" parTransId="{3BFD80DC-8C4A-49CD-82F3-500DFF266E96}" sibTransId="{54A504F9-8A0F-4DE6-AB12-B913235384B6}"/>
    <dgm:cxn modelId="{23CE619F-218A-4985-A501-D39021D3BD03}" srcId="{69AF4226-2BA2-4D27-9F44-EBB56BDDDB16}" destId="{1E436364-7966-449B-B7D7-CD7D9311AF50}" srcOrd="2" destOrd="0" parTransId="{7949B59D-F1E2-4B6B-A538-9DF61C8F8BF2}" sibTransId="{E7CC2E67-BA21-42D7-B04E-F8ED225DFAAF}"/>
    <dgm:cxn modelId="{AD748F18-7862-4C55-8EB8-8E9D675D84A7}" srcId="{7B68DF90-3F81-40D9-9A95-20C395F0392A}" destId="{C1CF22C5-3FA2-4A49-AE43-DAF451046A24}" srcOrd="2" destOrd="0" parTransId="{EC94AD46-5F6F-4FA7-B002-4924C4A9643A}" sibTransId="{6E7E0624-278B-43DA-98CE-7131B8040A48}"/>
    <dgm:cxn modelId="{FB0E037F-35B1-4659-9EC8-43FB2E8AB2F5}" srcId="{C1CF22C5-3FA2-4A49-AE43-DAF451046A24}" destId="{8804EF39-52F4-4123-B648-9F50A239792E}" srcOrd="3" destOrd="0" parTransId="{4FA5CFF2-A129-4AE9-A3F1-FF53F538D04B}" sibTransId="{86B38A07-7F9B-4E12-AF3E-00338E830D79}"/>
    <dgm:cxn modelId="{9C9CC33E-C7E1-49EC-B00C-B334E5E77E7E}" type="presParOf" srcId="{8A22345C-1C91-4ADD-A1D3-6BE6CD6A4E7A}" destId="{0007B0CF-A19A-4B22-96E1-3D4A0DC273D8}" srcOrd="0" destOrd="0" presId="urn:microsoft.com/office/officeart/2005/8/layout/hList1"/>
    <dgm:cxn modelId="{1F36324B-9BF4-4E03-99BF-5004921DC779}" type="presParOf" srcId="{0007B0CF-A19A-4B22-96E1-3D4A0DC273D8}" destId="{CF5E6683-4D06-4936-98B8-F1DAC4940208}" srcOrd="0" destOrd="0" presId="urn:microsoft.com/office/officeart/2005/8/layout/hList1"/>
    <dgm:cxn modelId="{9A427BB3-A40A-4E07-9DDD-7FC19AB0BC51}" type="presParOf" srcId="{0007B0CF-A19A-4B22-96E1-3D4A0DC273D8}" destId="{394B0470-8A8F-4F92-B094-0205AD4562EF}" srcOrd="1" destOrd="0" presId="urn:microsoft.com/office/officeart/2005/8/layout/hList1"/>
    <dgm:cxn modelId="{3A8ED414-9FA0-4470-80DA-8DA8B0F312DD}" type="presParOf" srcId="{8A22345C-1C91-4ADD-A1D3-6BE6CD6A4E7A}" destId="{82EC975F-642C-4C14-A1CD-68AF1C9AAE82}" srcOrd="1" destOrd="0" presId="urn:microsoft.com/office/officeart/2005/8/layout/hList1"/>
    <dgm:cxn modelId="{5BA5C63B-F255-4CF8-BE00-4F24812F097E}" type="presParOf" srcId="{8A22345C-1C91-4ADD-A1D3-6BE6CD6A4E7A}" destId="{43B56C0A-859C-44C9-9DE0-D150F46E0A8E}" srcOrd="2" destOrd="0" presId="urn:microsoft.com/office/officeart/2005/8/layout/hList1"/>
    <dgm:cxn modelId="{2247ED82-10BF-4685-BED5-7A816F53CDD0}" type="presParOf" srcId="{43B56C0A-859C-44C9-9DE0-D150F46E0A8E}" destId="{DDE8093F-48EF-4839-8B8C-48FF02A1AFC5}" srcOrd="0" destOrd="0" presId="urn:microsoft.com/office/officeart/2005/8/layout/hList1"/>
    <dgm:cxn modelId="{0F9B028E-2EA9-46E1-8C77-033EC49D4121}" type="presParOf" srcId="{43B56C0A-859C-44C9-9DE0-D150F46E0A8E}" destId="{C658B121-6416-4A0C-8F2C-3BA3FFBB32B1}" srcOrd="1" destOrd="0" presId="urn:microsoft.com/office/officeart/2005/8/layout/hList1"/>
    <dgm:cxn modelId="{6D288471-AC2C-491B-A38C-05C82D76B3F1}" type="presParOf" srcId="{8A22345C-1C91-4ADD-A1D3-6BE6CD6A4E7A}" destId="{60126CCD-E396-4B22-840C-680282BDA338}" srcOrd="3" destOrd="0" presId="urn:microsoft.com/office/officeart/2005/8/layout/hList1"/>
    <dgm:cxn modelId="{AA1F339C-0DAA-403B-9226-F1F88215B8DF}" type="presParOf" srcId="{8A22345C-1C91-4ADD-A1D3-6BE6CD6A4E7A}" destId="{0B945D83-2929-4F9B-8110-8623BD3909AE}" srcOrd="4" destOrd="0" presId="urn:microsoft.com/office/officeart/2005/8/layout/hList1"/>
    <dgm:cxn modelId="{A25473C2-562A-4CCE-925D-BC9DE02DE771}" type="presParOf" srcId="{0B945D83-2929-4F9B-8110-8623BD3909AE}" destId="{FC40F779-A759-4ECA-8788-D392EB56E084}" srcOrd="0" destOrd="0" presId="urn:microsoft.com/office/officeart/2005/8/layout/hList1"/>
    <dgm:cxn modelId="{B400DB3E-BD73-49EC-B459-9861989971FF}" type="presParOf" srcId="{0B945D83-2929-4F9B-8110-8623BD3909AE}" destId="{6339B919-BDF3-4F95-B765-7BA002982171}" srcOrd="1" destOrd="0" presId="urn:microsoft.com/office/officeart/2005/8/layout/hList1"/>
    <dgm:cxn modelId="{8AA039C6-5B65-4896-8D1B-15D1B491C004}" type="presParOf" srcId="{8A22345C-1C91-4ADD-A1D3-6BE6CD6A4E7A}" destId="{2B65A7F4-1BE1-4259-9173-DAC0E075824C}" srcOrd="5" destOrd="0" presId="urn:microsoft.com/office/officeart/2005/8/layout/hList1"/>
    <dgm:cxn modelId="{0D9762DB-BA96-4CD0-8AA3-C9BB34D790B6}" type="presParOf" srcId="{8A22345C-1C91-4ADD-A1D3-6BE6CD6A4E7A}" destId="{7D473B60-0A97-4647-B54C-090427404534}" srcOrd="6" destOrd="0" presId="urn:microsoft.com/office/officeart/2005/8/layout/hList1"/>
    <dgm:cxn modelId="{BF5B65F5-3E36-4494-AFC6-649B940B052A}" type="presParOf" srcId="{7D473B60-0A97-4647-B54C-090427404534}" destId="{0655B485-3DD0-440A-8830-3F5C6E19157A}" srcOrd="0" destOrd="0" presId="urn:microsoft.com/office/officeart/2005/8/layout/hList1"/>
    <dgm:cxn modelId="{C8F31C52-EF0A-42A4-BA98-AC4862ECAB9B}" type="presParOf" srcId="{7D473B60-0A97-4647-B54C-090427404534}" destId="{2DE3FE7C-1C63-482C-BD0B-E684EBA18456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xmlns="" relId="rId13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E617F74-5B39-4C81-9E52-9278F84B7418}" type="doc">
      <dgm:prSet loTypeId="urn:microsoft.com/office/officeart/2005/8/layout/vList4" loCatId="list" qsTypeId="urn:microsoft.com/office/officeart/2005/8/quickstyle/3d2" qsCatId="3D" csTypeId="urn:microsoft.com/office/officeart/2005/8/colors/accent1_2#1" csCatId="accent1" phldr="1"/>
      <dgm:spPr/>
      <dgm:t>
        <a:bodyPr/>
        <a:lstStyle/>
        <a:p>
          <a:endParaRPr lang="ru-RU"/>
        </a:p>
      </dgm:t>
    </dgm:pt>
    <dgm:pt modelId="{03EC2267-936E-40B1-AD35-E6D15D6BAD10}">
      <dgm:prSet phldrT="[Текст]" custT="1"/>
      <dgm:spPr/>
      <dgm:t>
        <a:bodyPr/>
        <a:lstStyle/>
        <a:p>
          <a:r>
            <a:rPr lang="ru-RU" sz="1300" b="1" dirty="0" smtClean="0"/>
            <a:t>Страхование имущества от всех рисков</a:t>
          </a:r>
          <a:endParaRPr lang="ru-RU" sz="1300" b="1" dirty="0"/>
        </a:p>
      </dgm:t>
    </dgm:pt>
    <dgm:pt modelId="{3AB51503-A5FE-4EC6-8C31-41AE15828936}" type="parTrans" cxnId="{C161B74D-ADCB-483C-B265-25E0DE5E00D4}">
      <dgm:prSet/>
      <dgm:spPr/>
      <dgm:t>
        <a:bodyPr/>
        <a:lstStyle/>
        <a:p>
          <a:endParaRPr lang="ru-RU"/>
        </a:p>
      </dgm:t>
    </dgm:pt>
    <dgm:pt modelId="{5E3B6033-7564-4C6A-8057-1DE3E0D85FBA}" type="sibTrans" cxnId="{C161B74D-ADCB-483C-B265-25E0DE5E00D4}">
      <dgm:prSet/>
      <dgm:spPr/>
      <dgm:t>
        <a:bodyPr/>
        <a:lstStyle/>
        <a:p>
          <a:endParaRPr lang="ru-RU"/>
        </a:p>
      </dgm:t>
    </dgm:pt>
    <dgm:pt modelId="{AB1B08E5-F872-4834-A584-115004D04A44}">
      <dgm:prSet phldrT="[Текст]" custT="1"/>
      <dgm:spPr/>
      <dgm:t>
        <a:bodyPr/>
        <a:lstStyle/>
        <a:p>
          <a:r>
            <a:rPr lang="ru-RU" sz="1000" dirty="0" smtClean="0"/>
            <a:t>Офисные здания</a:t>
          </a:r>
          <a:endParaRPr lang="ru-RU" sz="1000" dirty="0"/>
        </a:p>
      </dgm:t>
    </dgm:pt>
    <dgm:pt modelId="{9D47E5A2-A4A3-4E1A-BB7E-8B4D733AD5AC}" type="parTrans" cxnId="{9E15AA63-336C-4F6A-BF73-C5D1C2CB1E43}">
      <dgm:prSet/>
      <dgm:spPr/>
      <dgm:t>
        <a:bodyPr/>
        <a:lstStyle/>
        <a:p>
          <a:endParaRPr lang="ru-RU"/>
        </a:p>
      </dgm:t>
    </dgm:pt>
    <dgm:pt modelId="{815EC835-DCFB-410A-A543-8408F8813538}" type="sibTrans" cxnId="{9E15AA63-336C-4F6A-BF73-C5D1C2CB1E43}">
      <dgm:prSet/>
      <dgm:spPr/>
      <dgm:t>
        <a:bodyPr/>
        <a:lstStyle/>
        <a:p>
          <a:endParaRPr lang="ru-RU"/>
        </a:p>
      </dgm:t>
    </dgm:pt>
    <dgm:pt modelId="{518A51D1-AC33-4E8A-905C-CC1DB233C6F5}">
      <dgm:prSet phldrT="[Текст]" custT="1"/>
      <dgm:spPr/>
      <dgm:t>
        <a:bodyPr/>
        <a:lstStyle/>
        <a:p>
          <a:r>
            <a:rPr lang="ru-RU" sz="1000" dirty="0" smtClean="0"/>
            <a:t>Товарно-материальные ценности на складе и в обороте</a:t>
          </a:r>
          <a:endParaRPr lang="ru-RU" sz="1000" dirty="0"/>
        </a:p>
      </dgm:t>
    </dgm:pt>
    <dgm:pt modelId="{EE536698-89C5-4FF2-A96D-A685BB989A82}" type="parTrans" cxnId="{952A2517-3C2F-40DC-82D3-0404372392A5}">
      <dgm:prSet/>
      <dgm:spPr/>
      <dgm:t>
        <a:bodyPr/>
        <a:lstStyle/>
        <a:p>
          <a:endParaRPr lang="ru-RU"/>
        </a:p>
      </dgm:t>
    </dgm:pt>
    <dgm:pt modelId="{CC4C88A5-8E12-4B0B-A6D4-0B61424491BE}" type="sibTrans" cxnId="{952A2517-3C2F-40DC-82D3-0404372392A5}">
      <dgm:prSet/>
      <dgm:spPr/>
      <dgm:t>
        <a:bodyPr/>
        <a:lstStyle/>
        <a:p>
          <a:endParaRPr lang="ru-RU"/>
        </a:p>
      </dgm:t>
    </dgm:pt>
    <dgm:pt modelId="{E0CA7ED7-03B6-472E-A449-761A8FF8C64B}">
      <dgm:prSet phldrT="[Текст]" custT="1"/>
      <dgm:spPr/>
      <dgm:t>
        <a:bodyPr/>
        <a:lstStyle/>
        <a:p>
          <a:r>
            <a:rPr lang="ru-RU" sz="1300" b="1" dirty="0" smtClean="0"/>
            <a:t>Страхование машин и оборудования от поломок</a:t>
          </a:r>
          <a:endParaRPr lang="ru-RU" sz="1300" b="1" dirty="0"/>
        </a:p>
      </dgm:t>
    </dgm:pt>
    <dgm:pt modelId="{1B387C4E-759C-4ACD-8357-CCDA2F33A20D}" type="parTrans" cxnId="{25196151-53F3-4FE0-83DE-C4CC1695066E}">
      <dgm:prSet/>
      <dgm:spPr/>
      <dgm:t>
        <a:bodyPr/>
        <a:lstStyle/>
        <a:p>
          <a:endParaRPr lang="ru-RU"/>
        </a:p>
      </dgm:t>
    </dgm:pt>
    <dgm:pt modelId="{2DEFBEF4-CA5A-4C89-929D-94A4BAB92752}" type="sibTrans" cxnId="{25196151-53F3-4FE0-83DE-C4CC1695066E}">
      <dgm:prSet/>
      <dgm:spPr/>
      <dgm:t>
        <a:bodyPr/>
        <a:lstStyle/>
        <a:p>
          <a:endParaRPr lang="ru-RU"/>
        </a:p>
      </dgm:t>
    </dgm:pt>
    <dgm:pt modelId="{BC2FDC53-3BF0-49BE-AD88-E685B6C3320F}">
      <dgm:prSet phldrT="[Текст]" custT="1"/>
      <dgm:spPr/>
      <dgm:t>
        <a:bodyPr/>
        <a:lstStyle/>
        <a:p>
          <a:r>
            <a:rPr lang="ru-RU" sz="1200" dirty="0" smtClean="0"/>
            <a:t> Производственные линии</a:t>
          </a:r>
          <a:endParaRPr lang="ru-RU" sz="1200" dirty="0"/>
        </a:p>
      </dgm:t>
    </dgm:pt>
    <dgm:pt modelId="{CF5B15E6-17DA-4C1B-BEB8-3057243D367C}" type="parTrans" cxnId="{B04E7E46-E2C2-444A-8A3D-6DA15BB2EB21}">
      <dgm:prSet/>
      <dgm:spPr/>
      <dgm:t>
        <a:bodyPr/>
        <a:lstStyle/>
        <a:p>
          <a:endParaRPr lang="ru-RU"/>
        </a:p>
      </dgm:t>
    </dgm:pt>
    <dgm:pt modelId="{435F59D5-5F88-4215-80F2-9D0F503FF07E}" type="sibTrans" cxnId="{B04E7E46-E2C2-444A-8A3D-6DA15BB2EB21}">
      <dgm:prSet/>
      <dgm:spPr/>
      <dgm:t>
        <a:bodyPr/>
        <a:lstStyle/>
        <a:p>
          <a:endParaRPr lang="ru-RU"/>
        </a:p>
      </dgm:t>
    </dgm:pt>
    <dgm:pt modelId="{99C97931-CC09-46D8-BCE3-B4011268AED4}">
      <dgm:prSet phldrT="[Текст]" custT="1"/>
      <dgm:spPr/>
      <dgm:t>
        <a:bodyPr/>
        <a:lstStyle/>
        <a:p>
          <a:r>
            <a:rPr lang="ru-RU" sz="1200" dirty="0" smtClean="0"/>
            <a:t> Стационарные грузоподъемные механизмы</a:t>
          </a:r>
          <a:endParaRPr lang="ru-RU" sz="1200" dirty="0"/>
        </a:p>
      </dgm:t>
    </dgm:pt>
    <dgm:pt modelId="{70A876AF-DA27-459C-8ACB-9C948C65452D}" type="parTrans" cxnId="{A3D059E6-E207-4798-8608-144449ABA5AE}">
      <dgm:prSet/>
      <dgm:spPr/>
      <dgm:t>
        <a:bodyPr/>
        <a:lstStyle/>
        <a:p>
          <a:endParaRPr lang="ru-RU"/>
        </a:p>
      </dgm:t>
    </dgm:pt>
    <dgm:pt modelId="{2D003A98-FAEB-4739-88AF-69A044013F86}" type="sibTrans" cxnId="{A3D059E6-E207-4798-8608-144449ABA5AE}">
      <dgm:prSet/>
      <dgm:spPr/>
      <dgm:t>
        <a:bodyPr/>
        <a:lstStyle/>
        <a:p>
          <a:endParaRPr lang="ru-RU"/>
        </a:p>
      </dgm:t>
    </dgm:pt>
    <dgm:pt modelId="{C383AE56-7A21-4E60-9C58-633D5F430157}">
      <dgm:prSet phldrT="[Текст]"/>
      <dgm:spPr/>
      <dgm:t>
        <a:bodyPr/>
        <a:lstStyle/>
        <a:p>
          <a:r>
            <a:rPr lang="ru-RU" sz="1300" b="1" dirty="0" smtClean="0"/>
            <a:t>Страхование от перерывов в производстве</a:t>
          </a:r>
          <a:endParaRPr lang="ru-RU" sz="1300" b="1" dirty="0"/>
        </a:p>
      </dgm:t>
    </dgm:pt>
    <dgm:pt modelId="{09161FBF-5482-4F9E-B906-3CA7E3465C6C}" type="parTrans" cxnId="{AD1B5E7B-ECB7-4C98-85D1-16BDED7D6269}">
      <dgm:prSet/>
      <dgm:spPr/>
      <dgm:t>
        <a:bodyPr/>
        <a:lstStyle/>
        <a:p>
          <a:endParaRPr lang="ru-RU"/>
        </a:p>
      </dgm:t>
    </dgm:pt>
    <dgm:pt modelId="{C05E585B-E39E-4BFB-B374-8675CAA03A95}" type="sibTrans" cxnId="{AD1B5E7B-ECB7-4C98-85D1-16BDED7D6269}">
      <dgm:prSet/>
      <dgm:spPr/>
      <dgm:t>
        <a:bodyPr/>
        <a:lstStyle/>
        <a:p>
          <a:endParaRPr lang="ru-RU"/>
        </a:p>
      </dgm:t>
    </dgm:pt>
    <dgm:pt modelId="{8030BE2C-35EE-4958-BC5D-8701FAEFC7E1}">
      <dgm:prSet phldrT="[Текст]" custT="1"/>
      <dgm:spPr/>
      <dgm:t>
        <a:bodyPr/>
        <a:lstStyle/>
        <a:p>
          <a:r>
            <a:rPr lang="ru-RU" sz="1000" dirty="0" smtClean="0"/>
            <a:t>Торгово-складские помещения</a:t>
          </a:r>
          <a:endParaRPr lang="ru-RU" sz="1000" dirty="0"/>
        </a:p>
      </dgm:t>
    </dgm:pt>
    <dgm:pt modelId="{E362EF49-7CDE-458D-BCDD-170159A8F6BF}" type="parTrans" cxnId="{84C094C8-51A2-4E86-9830-962D8537229F}">
      <dgm:prSet/>
      <dgm:spPr/>
      <dgm:t>
        <a:bodyPr/>
        <a:lstStyle/>
        <a:p>
          <a:endParaRPr lang="ru-RU"/>
        </a:p>
      </dgm:t>
    </dgm:pt>
    <dgm:pt modelId="{4B469248-9A7C-4342-8806-DC69EF68BFA5}" type="sibTrans" cxnId="{84C094C8-51A2-4E86-9830-962D8537229F}">
      <dgm:prSet/>
      <dgm:spPr/>
      <dgm:t>
        <a:bodyPr/>
        <a:lstStyle/>
        <a:p>
          <a:endParaRPr lang="ru-RU"/>
        </a:p>
      </dgm:t>
    </dgm:pt>
    <dgm:pt modelId="{C14F8E97-CCD3-4E7A-A046-7F111D14414E}">
      <dgm:prSet phldrT="[Текст]" custT="1"/>
      <dgm:spPr/>
      <dgm:t>
        <a:bodyPr/>
        <a:lstStyle/>
        <a:p>
          <a:r>
            <a:rPr lang="ru-RU" sz="1000" dirty="0" smtClean="0"/>
            <a:t>Промышленное производство</a:t>
          </a:r>
          <a:endParaRPr lang="ru-RU" sz="1000" dirty="0"/>
        </a:p>
      </dgm:t>
    </dgm:pt>
    <dgm:pt modelId="{8B3EB8E4-8757-48DF-B60A-10EAF98F2670}" type="parTrans" cxnId="{AEA03920-60C1-49ED-AFB0-AB2656D2EFE8}">
      <dgm:prSet/>
      <dgm:spPr/>
      <dgm:t>
        <a:bodyPr/>
        <a:lstStyle/>
        <a:p>
          <a:endParaRPr lang="ru-RU"/>
        </a:p>
      </dgm:t>
    </dgm:pt>
    <dgm:pt modelId="{F3976FBA-A8C3-4A03-85C5-8216434819D3}" type="sibTrans" cxnId="{AEA03920-60C1-49ED-AFB0-AB2656D2EFE8}">
      <dgm:prSet/>
      <dgm:spPr/>
      <dgm:t>
        <a:bodyPr/>
        <a:lstStyle/>
        <a:p>
          <a:endParaRPr lang="ru-RU"/>
        </a:p>
      </dgm:t>
    </dgm:pt>
    <dgm:pt modelId="{3EDAEC74-B132-4A3E-8568-67A10F5D6946}">
      <dgm:prSet phldrT="[Текст]" custT="1"/>
      <dgm:spPr/>
      <dgm:t>
        <a:bodyPr/>
        <a:lstStyle/>
        <a:p>
          <a:r>
            <a:rPr lang="ru-RU" sz="1000" dirty="0" smtClean="0"/>
            <a:t> и многое другое</a:t>
          </a:r>
          <a:endParaRPr lang="ru-RU" sz="1000" dirty="0"/>
        </a:p>
      </dgm:t>
    </dgm:pt>
    <dgm:pt modelId="{5250CF99-1CC7-4156-8F4F-951F250954F7}" type="parTrans" cxnId="{E2972E8E-9176-4CF8-A973-5BC5EACE8744}">
      <dgm:prSet/>
      <dgm:spPr/>
      <dgm:t>
        <a:bodyPr/>
        <a:lstStyle/>
        <a:p>
          <a:endParaRPr lang="ru-RU"/>
        </a:p>
      </dgm:t>
    </dgm:pt>
    <dgm:pt modelId="{2C93F710-479F-446B-9CB5-5482E67624F7}" type="sibTrans" cxnId="{E2972E8E-9176-4CF8-A973-5BC5EACE8744}">
      <dgm:prSet/>
      <dgm:spPr/>
      <dgm:t>
        <a:bodyPr/>
        <a:lstStyle/>
        <a:p>
          <a:endParaRPr lang="ru-RU"/>
        </a:p>
      </dgm:t>
    </dgm:pt>
    <dgm:pt modelId="{9DD7ED35-0E7D-43F0-9FDC-0701857A2300}">
      <dgm:prSet phldrT="[Текст]" custT="1"/>
      <dgm:spPr/>
      <dgm:t>
        <a:bodyPr/>
        <a:lstStyle/>
        <a:p>
          <a:r>
            <a:rPr lang="ru-RU" sz="1100" dirty="0" smtClean="0"/>
            <a:t>текущие расходы (заработная плата, ЕСН, расходы по ОМС, лизинговые платежи  налоги и сборы, проценты и по кредитам, амортизация)</a:t>
          </a:r>
          <a:endParaRPr lang="ru-RU" sz="1100" dirty="0"/>
        </a:p>
      </dgm:t>
    </dgm:pt>
    <dgm:pt modelId="{AD2C9108-EAC5-481A-AF4D-DE49BCE907BF}" type="sibTrans" cxnId="{3E3FC490-7B40-4633-888A-AE552AC51724}">
      <dgm:prSet/>
      <dgm:spPr/>
      <dgm:t>
        <a:bodyPr/>
        <a:lstStyle/>
        <a:p>
          <a:endParaRPr lang="ru-RU"/>
        </a:p>
      </dgm:t>
    </dgm:pt>
    <dgm:pt modelId="{0124F56B-6B05-492B-810E-FB5EC3D3761F}" type="parTrans" cxnId="{3E3FC490-7B40-4633-888A-AE552AC51724}">
      <dgm:prSet/>
      <dgm:spPr/>
      <dgm:t>
        <a:bodyPr/>
        <a:lstStyle/>
        <a:p>
          <a:endParaRPr lang="ru-RU"/>
        </a:p>
      </dgm:t>
    </dgm:pt>
    <dgm:pt modelId="{77EDB083-39B2-45D5-91E2-A804331E6E5D}">
      <dgm:prSet phldrT="[Текст]" custT="1"/>
      <dgm:spPr/>
      <dgm:t>
        <a:bodyPr/>
        <a:lstStyle/>
        <a:p>
          <a:r>
            <a:rPr lang="ru-RU" sz="1100" dirty="0" smtClean="0"/>
            <a:t>потери прибыли от застрахованной деятельности Страхователя в результате наступления перерыва в производстве</a:t>
          </a:r>
          <a:endParaRPr lang="ru-RU" sz="1100" dirty="0"/>
        </a:p>
      </dgm:t>
    </dgm:pt>
    <dgm:pt modelId="{0455D151-17CC-46E1-A969-A8912E88AF82}" type="sibTrans" cxnId="{6F69307A-12E9-408A-8A90-D7ED4A43D973}">
      <dgm:prSet/>
      <dgm:spPr/>
      <dgm:t>
        <a:bodyPr/>
        <a:lstStyle/>
        <a:p>
          <a:endParaRPr lang="ru-RU"/>
        </a:p>
      </dgm:t>
    </dgm:pt>
    <dgm:pt modelId="{9ED0E1AE-D2E7-4415-9E4D-BFFFABA99CCB}" type="parTrans" cxnId="{6F69307A-12E9-408A-8A90-D7ED4A43D973}">
      <dgm:prSet/>
      <dgm:spPr/>
      <dgm:t>
        <a:bodyPr/>
        <a:lstStyle/>
        <a:p>
          <a:endParaRPr lang="ru-RU"/>
        </a:p>
      </dgm:t>
    </dgm:pt>
    <dgm:pt modelId="{F180263C-9AFE-48DC-9390-CFBEFB4C6625}">
      <dgm:prSet phldrT="[Текст]" custT="1"/>
      <dgm:spPr/>
      <dgm:t>
        <a:bodyPr/>
        <a:lstStyle/>
        <a:p>
          <a:r>
            <a:rPr lang="ru-RU" sz="1100" dirty="0" smtClean="0"/>
            <a:t>затраты на восстановление имущества предприятия после наступления страхового события</a:t>
          </a:r>
          <a:endParaRPr lang="ru-RU" sz="1100" dirty="0"/>
        </a:p>
      </dgm:t>
    </dgm:pt>
    <dgm:pt modelId="{7A9DC19A-4322-43A8-8E5F-9FFD14B83706}" type="sibTrans" cxnId="{F4F30889-8E23-4192-B42C-718F68E36428}">
      <dgm:prSet/>
      <dgm:spPr/>
      <dgm:t>
        <a:bodyPr/>
        <a:lstStyle/>
        <a:p>
          <a:endParaRPr lang="ru-RU"/>
        </a:p>
      </dgm:t>
    </dgm:pt>
    <dgm:pt modelId="{AAA17F02-8E8A-4950-9FE0-C6C6D220A27B}" type="parTrans" cxnId="{F4F30889-8E23-4192-B42C-718F68E36428}">
      <dgm:prSet/>
      <dgm:spPr/>
      <dgm:t>
        <a:bodyPr/>
        <a:lstStyle/>
        <a:p>
          <a:endParaRPr lang="ru-RU"/>
        </a:p>
      </dgm:t>
    </dgm:pt>
    <dgm:pt modelId="{4646C01E-CFBE-4505-8259-66F1C99097E2}">
      <dgm:prSet phldrT="[Текст]" custT="1"/>
      <dgm:spPr/>
      <dgm:t>
        <a:bodyPr anchor="t"/>
        <a:lstStyle/>
        <a:p>
          <a:r>
            <a:rPr lang="ru-RU" sz="1300" b="1" dirty="0" smtClean="0"/>
            <a:t>Страхование спецтехники</a:t>
          </a:r>
          <a:endParaRPr lang="ru-RU" sz="1300" b="1" dirty="0"/>
        </a:p>
      </dgm:t>
    </dgm:pt>
    <dgm:pt modelId="{A98ED1B1-4B58-4CB3-ACE8-081B07FB3AB0}" type="parTrans" cxnId="{B8DDC9BF-93DF-43F8-821A-311A72648E0B}">
      <dgm:prSet/>
      <dgm:spPr/>
      <dgm:t>
        <a:bodyPr/>
        <a:lstStyle/>
        <a:p>
          <a:endParaRPr lang="ru-RU"/>
        </a:p>
      </dgm:t>
    </dgm:pt>
    <dgm:pt modelId="{0896F760-9DAA-4452-AAC9-B30332B7B2A7}" type="sibTrans" cxnId="{B8DDC9BF-93DF-43F8-821A-311A72648E0B}">
      <dgm:prSet/>
      <dgm:spPr/>
      <dgm:t>
        <a:bodyPr/>
        <a:lstStyle/>
        <a:p>
          <a:endParaRPr lang="ru-RU"/>
        </a:p>
      </dgm:t>
    </dgm:pt>
    <dgm:pt modelId="{F0974EC3-B003-4F9F-A720-29CE6276D701}">
      <dgm:prSet phldrT="[Текст]" custT="1"/>
      <dgm:spPr/>
      <dgm:t>
        <a:bodyPr/>
        <a:lstStyle/>
        <a:p>
          <a:r>
            <a:rPr lang="ru-RU" sz="1100" dirty="0" smtClean="0"/>
            <a:t>арендные платежи </a:t>
          </a:r>
          <a:endParaRPr lang="ru-RU" sz="1100" dirty="0"/>
        </a:p>
      </dgm:t>
    </dgm:pt>
    <dgm:pt modelId="{D2E3F172-0048-4C35-80AD-17417021B792}" type="parTrans" cxnId="{9E9DF5C0-7216-4C21-8D6D-8811FFDA2043}">
      <dgm:prSet/>
      <dgm:spPr/>
      <dgm:t>
        <a:bodyPr/>
        <a:lstStyle/>
        <a:p>
          <a:endParaRPr lang="ru-RU"/>
        </a:p>
      </dgm:t>
    </dgm:pt>
    <dgm:pt modelId="{5BFC85B5-9E04-4A15-91A0-B67EE95B4868}" type="sibTrans" cxnId="{9E9DF5C0-7216-4C21-8D6D-8811FFDA2043}">
      <dgm:prSet/>
      <dgm:spPr/>
      <dgm:t>
        <a:bodyPr/>
        <a:lstStyle/>
        <a:p>
          <a:endParaRPr lang="ru-RU"/>
        </a:p>
      </dgm:t>
    </dgm:pt>
    <dgm:pt modelId="{DC8E2DC6-6BF7-42E0-B8ED-BD46BD807EDA}">
      <dgm:prSet phldrT="[Текст]" custT="1"/>
      <dgm:spPr/>
      <dgm:t>
        <a:bodyPr/>
        <a:lstStyle/>
        <a:p>
          <a:r>
            <a:rPr lang="ru-RU" sz="1200" dirty="0" smtClean="0"/>
            <a:t> Устройства для выработки и передачи электроэнергии</a:t>
          </a:r>
          <a:endParaRPr lang="ru-RU" sz="1200" dirty="0"/>
        </a:p>
      </dgm:t>
    </dgm:pt>
    <dgm:pt modelId="{D5C92D25-39DE-492E-A31F-BDE111DE5323}" type="sibTrans" cxnId="{CDEEADF2-FDA6-49D0-9F75-7A8BBACA5EDB}">
      <dgm:prSet/>
      <dgm:spPr/>
      <dgm:t>
        <a:bodyPr/>
        <a:lstStyle/>
        <a:p>
          <a:endParaRPr lang="ru-RU"/>
        </a:p>
      </dgm:t>
    </dgm:pt>
    <dgm:pt modelId="{C7443841-228E-47F7-8DB1-36E5FBE5BEAF}" type="parTrans" cxnId="{CDEEADF2-FDA6-49D0-9F75-7A8BBACA5EDB}">
      <dgm:prSet/>
      <dgm:spPr/>
      <dgm:t>
        <a:bodyPr/>
        <a:lstStyle/>
        <a:p>
          <a:endParaRPr lang="ru-RU"/>
        </a:p>
      </dgm:t>
    </dgm:pt>
    <dgm:pt modelId="{6045DA93-5267-444E-B264-D12C4D057E3A}">
      <dgm:prSet phldrT="[Текст]" custT="1"/>
      <dgm:spPr/>
      <dgm:t>
        <a:bodyPr/>
        <a:lstStyle/>
        <a:p>
          <a:r>
            <a:rPr lang="ru-RU" sz="1200" dirty="0" smtClean="0"/>
            <a:t>Прочие  стационарные агрегаты и устройства</a:t>
          </a:r>
          <a:endParaRPr lang="ru-RU" sz="1200" dirty="0"/>
        </a:p>
      </dgm:t>
    </dgm:pt>
    <dgm:pt modelId="{BB57BA41-FC52-4535-8E44-F657AE696D5B}" type="parTrans" cxnId="{5B5DFE60-056E-423B-95BF-397CE774CE04}">
      <dgm:prSet/>
      <dgm:spPr/>
      <dgm:t>
        <a:bodyPr/>
        <a:lstStyle/>
        <a:p>
          <a:endParaRPr lang="ru-RU"/>
        </a:p>
      </dgm:t>
    </dgm:pt>
    <dgm:pt modelId="{4A9ED721-E0EB-4180-B082-916FD61902D2}" type="sibTrans" cxnId="{5B5DFE60-056E-423B-95BF-397CE774CE04}">
      <dgm:prSet/>
      <dgm:spPr/>
      <dgm:t>
        <a:bodyPr/>
        <a:lstStyle/>
        <a:p>
          <a:endParaRPr lang="ru-RU"/>
        </a:p>
      </dgm:t>
    </dgm:pt>
    <dgm:pt modelId="{0A2FEE2A-7439-4245-9FFE-ABD5BD2986D8}">
      <dgm:prSet phldrT="[Текст]" custT="1"/>
      <dgm:spPr/>
      <dgm:t>
        <a:bodyPr anchor="t"/>
        <a:lstStyle/>
        <a:p>
          <a:r>
            <a:rPr lang="ru-RU" sz="1100" b="0" dirty="0" smtClean="0"/>
            <a:t>Передвижные машины</a:t>
          </a:r>
          <a:endParaRPr lang="ru-RU" sz="1100" b="0" dirty="0"/>
        </a:p>
      </dgm:t>
    </dgm:pt>
    <dgm:pt modelId="{9C36DE50-E338-461B-A191-02FC152DC5FE}" type="parTrans" cxnId="{3D211895-3FEA-42EF-B01D-87F83193BC0D}">
      <dgm:prSet/>
      <dgm:spPr/>
      <dgm:t>
        <a:bodyPr/>
        <a:lstStyle/>
        <a:p>
          <a:endParaRPr lang="ru-RU"/>
        </a:p>
      </dgm:t>
    </dgm:pt>
    <dgm:pt modelId="{4B980317-37E9-4D68-ADEB-2454EEC1A09D}" type="sibTrans" cxnId="{3D211895-3FEA-42EF-B01D-87F83193BC0D}">
      <dgm:prSet/>
      <dgm:spPr/>
      <dgm:t>
        <a:bodyPr/>
        <a:lstStyle/>
        <a:p>
          <a:endParaRPr lang="ru-RU"/>
        </a:p>
      </dgm:t>
    </dgm:pt>
    <dgm:pt modelId="{7C1693BE-ABE1-474B-AF53-ECF127962032}">
      <dgm:prSet phldrT="[Текст]" custT="1"/>
      <dgm:spPr/>
      <dgm:t>
        <a:bodyPr anchor="t"/>
        <a:lstStyle/>
        <a:p>
          <a:r>
            <a:rPr lang="ru-RU" sz="1100" b="0" dirty="0" smtClean="0"/>
            <a:t>Подъемно-транспортное оборудование</a:t>
          </a:r>
          <a:endParaRPr lang="ru-RU" sz="1100" b="0" dirty="0"/>
        </a:p>
      </dgm:t>
    </dgm:pt>
    <dgm:pt modelId="{F89BB5DE-2B31-4755-93D7-B366827A97B7}" type="parTrans" cxnId="{228E8C19-C03E-4187-AE6C-D3C0B9E8CC5A}">
      <dgm:prSet/>
      <dgm:spPr/>
      <dgm:t>
        <a:bodyPr/>
        <a:lstStyle/>
        <a:p>
          <a:endParaRPr lang="ru-RU"/>
        </a:p>
      </dgm:t>
    </dgm:pt>
    <dgm:pt modelId="{2A5CEA08-AE7A-4D3E-980F-68904A8BCF70}" type="sibTrans" cxnId="{228E8C19-C03E-4187-AE6C-D3C0B9E8CC5A}">
      <dgm:prSet/>
      <dgm:spPr/>
      <dgm:t>
        <a:bodyPr/>
        <a:lstStyle/>
        <a:p>
          <a:endParaRPr lang="ru-RU"/>
        </a:p>
      </dgm:t>
    </dgm:pt>
    <dgm:pt modelId="{0954DE79-11A3-4154-A4D2-27D71F8A4EEB}">
      <dgm:prSet phldrT="[Текст]" custT="1"/>
      <dgm:spPr/>
      <dgm:t>
        <a:bodyPr anchor="t"/>
        <a:lstStyle/>
        <a:p>
          <a:r>
            <a:rPr lang="ru-RU" sz="1100" b="0" dirty="0" smtClean="0"/>
            <a:t>Гусеничная техника</a:t>
          </a:r>
          <a:endParaRPr lang="ru-RU" sz="1100" b="0" dirty="0"/>
        </a:p>
      </dgm:t>
    </dgm:pt>
    <dgm:pt modelId="{0F79AE30-2A31-4E0E-BCFD-28EF2C571130}" type="parTrans" cxnId="{BFDCD109-6A30-49D1-896E-68F703BF4268}">
      <dgm:prSet/>
      <dgm:spPr/>
      <dgm:t>
        <a:bodyPr/>
        <a:lstStyle/>
        <a:p>
          <a:endParaRPr lang="ru-RU"/>
        </a:p>
      </dgm:t>
    </dgm:pt>
    <dgm:pt modelId="{4C309FAD-A0BF-4ABD-8E2B-726979CB434B}" type="sibTrans" cxnId="{BFDCD109-6A30-49D1-896E-68F703BF4268}">
      <dgm:prSet/>
      <dgm:spPr/>
      <dgm:t>
        <a:bodyPr/>
        <a:lstStyle/>
        <a:p>
          <a:endParaRPr lang="ru-RU"/>
        </a:p>
      </dgm:t>
    </dgm:pt>
    <dgm:pt modelId="{1DF68442-34CF-479F-AEE6-F6F9AD5E9F9A}">
      <dgm:prSet phldrT="[Текст]" custT="1"/>
      <dgm:spPr/>
      <dgm:t>
        <a:bodyPr anchor="t"/>
        <a:lstStyle/>
        <a:p>
          <a:r>
            <a:rPr lang="ru-RU" sz="1100" b="0" dirty="0" smtClean="0"/>
            <a:t>Техника для дорожного строительства</a:t>
          </a:r>
          <a:endParaRPr lang="ru-RU" sz="1100" b="0" dirty="0"/>
        </a:p>
      </dgm:t>
    </dgm:pt>
    <dgm:pt modelId="{76A05587-E6AB-4EE7-95CB-7BE04C692BD9}" type="parTrans" cxnId="{FE0BD563-FA16-4393-8823-086AA3628D74}">
      <dgm:prSet/>
      <dgm:spPr/>
      <dgm:t>
        <a:bodyPr/>
        <a:lstStyle/>
        <a:p>
          <a:endParaRPr lang="ru-RU"/>
        </a:p>
      </dgm:t>
    </dgm:pt>
    <dgm:pt modelId="{129ED997-85B6-4F79-848F-15DB298A7015}" type="sibTrans" cxnId="{FE0BD563-FA16-4393-8823-086AA3628D74}">
      <dgm:prSet/>
      <dgm:spPr/>
      <dgm:t>
        <a:bodyPr/>
        <a:lstStyle/>
        <a:p>
          <a:endParaRPr lang="ru-RU"/>
        </a:p>
      </dgm:t>
    </dgm:pt>
    <dgm:pt modelId="{C2FE7EC3-BF97-4E7A-A150-6356F7527E7E}" type="pres">
      <dgm:prSet presAssocID="{2E617F74-5B39-4C81-9E52-9278F84B7418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F829C18-ABC1-4063-B907-9531AA9C78B4}" type="pres">
      <dgm:prSet presAssocID="{03EC2267-936E-40B1-AD35-E6D15D6BAD10}" presName="comp" presStyleCnt="0"/>
      <dgm:spPr/>
      <dgm:t>
        <a:bodyPr/>
        <a:lstStyle/>
        <a:p>
          <a:endParaRPr lang="ru-RU"/>
        </a:p>
      </dgm:t>
    </dgm:pt>
    <dgm:pt modelId="{1CC5E041-E4A5-4410-BD2A-8752040929CF}" type="pres">
      <dgm:prSet presAssocID="{03EC2267-936E-40B1-AD35-E6D15D6BAD10}" presName="box" presStyleLbl="node1" presStyleIdx="0" presStyleCnt="4"/>
      <dgm:spPr/>
      <dgm:t>
        <a:bodyPr/>
        <a:lstStyle/>
        <a:p>
          <a:endParaRPr lang="ru-RU"/>
        </a:p>
      </dgm:t>
    </dgm:pt>
    <dgm:pt modelId="{8DAE4543-AA2D-4002-A21B-DB1EC3B7600D}" type="pres">
      <dgm:prSet presAssocID="{03EC2267-936E-40B1-AD35-E6D15D6BAD10}" presName="img" presStyleLbl="fgImgPlace1" presStyleIdx="0" presStyleCnt="4" custScaleX="89934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F15999B6-3697-45D0-B7BE-301962A0448F}" type="pres">
      <dgm:prSet presAssocID="{03EC2267-936E-40B1-AD35-E6D15D6BAD10}" presName="text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C7D486-A409-4817-8476-88DAC3B38FCC}" type="pres">
      <dgm:prSet presAssocID="{5E3B6033-7564-4C6A-8057-1DE3E0D85FBA}" presName="spacer" presStyleCnt="0"/>
      <dgm:spPr/>
      <dgm:t>
        <a:bodyPr/>
        <a:lstStyle/>
        <a:p>
          <a:endParaRPr lang="ru-RU"/>
        </a:p>
      </dgm:t>
    </dgm:pt>
    <dgm:pt modelId="{97DA81C9-79A5-4FFD-A68C-CC7A8E597586}" type="pres">
      <dgm:prSet presAssocID="{E0CA7ED7-03B6-472E-A449-761A8FF8C64B}" presName="comp" presStyleCnt="0"/>
      <dgm:spPr/>
      <dgm:t>
        <a:bodyPr/>
        <a:lstStyle/>
        <a:p>
          <a:endParaRPr lang="ru-RU"/>
        </a:p>
      </dgm:t>
    </dgm:pt>
    <dgm:pt modelId="{0B495EA0-7EFF-4D63-9194-EFF167D84F85}" type="pres">
      <dgm:prSet presAssocID="{E0CA7ED7-03B6-472E-A449-761A8FF8C64B}" presName="box" presStyleLbl="node1" presStyleIdx="1" presStyleCnt="4" custLinFactNeighborX="-16239" custLinFactNeighborY="-579"/>
      <dgm:spPr/>
      <dgm:t>
        <a:bodyPr/>
        <a:lstStyle/>
        <a:p>
          <a:endParaRPr lang="ru-RU"/>
        </a:p>
      </dgm:t>
    </dgm:pt>
    <dgm:pt modelId="{98E8C7BC-962D-4711-B09B-F06A8B8A7E6B}" type="pres">
      <dgm:prSet presAssocID="{E0CA7ED7-03B6-472E-A449-761A8FF8C64B}" presName="img" presStyleLbl="fgImgPlace1" presStyleIdx="1" presStyleCnt="4" custScaleX="82955"/>
      <dgm:spPr>
        <a:blipFill rotWithShape="0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4752BE69-9162-40DC-BBC5-095CFA711798}" type="pres">
      <dgm:prSet presAssocID="{E0CA7ED7-03B6-472E-A449-761A8FF8C64B}" presName="text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863DF6B-6779-4405-BA63-413BDD658E29}" type="pres">
      <dgm:prSet presAssocID="{2DEFBEF4-CA5A-4C89-929D-94A4BAB92752}" presName="spacer" presStyleCnt="0"/>
      <dgm:spPr/>
      <dgm:t>
        <a:bodyPr/>
        <a:lstStyle/>
        <a:p>
          <a:endParaRPr lang="ru-RU"/>
        </a:p>
      </dgm:t>
    </dgm:pt>
    <dgm:pt modelId="{A8D5B3F6-8214-4BD4-AF73-A1C6F89142AB}" type="pres">
      <dgm:prSet presAssocID="{C383AE56-7A21-4E60-9C58-633D5F430157}" presName="comp" presStyleCnt="0"/>
      <dgm:spPr/>
      <dgm:t>
        <a:bodyPr/>
        <a:lstStyle/>
        <a:p>
          <a:endParaRPr lang="ru-RU"/>
        </a:p>
      </dgm:t>
    </dgm:pt>
    <dgm:pt modelId="{4DFB0F34-AEAD-454E-A929-D30B229BC440}" type="pres">
      <dgm:prSet presAssocID="{C383AE56-7A21-4E60-9C58-633D5F430157}" presName="box" presStyleLbl="node1" presStyleIdx="2" presStyleCnt="4" custScaleY="117797"/>
      <dgm:spPr/>
      <dgm:t>
        <a:bodyPr/>
        <a:lstStyle/>
        <a:p>
          <a:endParaRPr lang="ru-RU"/>
        </a:p>
      </dgm:t>
    </dgm:pt>
    <dgm:pt modelId="{8C7035C9-EB96-4AC4-810D-000254541E1A}" type="pres">
      <dgm:prSet presAssocID="{C383AE56-7A21-4E60-9C58-633D5F430157}" presName="img" presStyleLbl="fgImgPlace1" presStyleIdx="2" presStyleCnt="4" custScaleX="82955"/>
      <dgm:spPr>
        <a:blipFill rotWithShape="0">
          <a:blip xmlns:r="http://schemas.openxmlformats.org/officeDocument/2006/relationships" r:embed="rId3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907E39EC-3FBA-414D-9CBA-F374B1667521}" type="pres">
      <dgm:prSet presAssocID="{C383AE56-7A21-4E60-9C58-633D5F430157}" presName="text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A2196F1-BFF9-4A40-B99E-56EE1E08C08D}" type="pres">
      <dgm:prSet presAssocID="{C05E585B-E39E-4BFB-B374-8675CAA03A95}" presName="spacer" presStyleCnt="0"/>
      <dgm:spPr/>
      <dgm:t>
        <a:bodyPr/>
        <a:lstStyle/>
        <a:p>
          <a:endParaRPr lang="ru-RU"/>
        </a:p>
      </dgm:t>
    </dgm:pt>
    <dgm:pt modelId="{BFA67736-E553-48E8-A00B-76913D653928}" type="pres">
      <dgm:prSet presAssocID="{4646C01E-CFBE-4505-8259-66F1C99097E2}" presName="comp" presStyleCnt="0"/>
      <dgm:spPr/>
      <dgm:t>
        <a:bodyPr/>
        <a:lstStyle/>
        <a:p>
          <a:endParaRPr lang="ru-RU"/>
        </a:p>
      </dgm:t>
    </dgm:pt>
    <dgm:pt modelId="{60662DAB-7138-4994-9510-D3AA0DC89698}" type="pres">
      <dgm:prSet presAssocID="{4646C01E-CFBE-4505-8259-66F1C99097E2}" presName="box" presStyleLbl="node1" presStyleIdx="3" presStyleCnt="4"/>
      <dgm:spPr/>
      <dgm:t>
        <a:bodyPr/>
        <a:lstStyle/>
        <a:p>
          <a:endParaRPr lang="ru-RU"/>
        </a:p>
      </dgm:t>
    </dgm:pt>
    <dgm:pt modelId="{2C7AAC5A-39F3-4757-A022-28AAD81E2A82}" type="pres">
      <dgm:prSet presAssocID="{4646C01E-CFBE-4505-8259-66F1C99097E2}" presName="img" presStyleLbl="fgImgPlace1" presStyleIdx="3" presStyleCnt="4" custScaleX="82955" custScaleY="110176"/>
      <dgm:spPr>
        <a:blipFill rotWithShape="0">
          <a:blip xmlns:r="http://schemas.openxmlformats.org/officeDocument/2006/relationships" r:embed="rId4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7EAAB393-7E48-4C84-9F54-514D0E1E387C}" type="pres">
      <dgm:prSet presAssocID="{4646C01E-CFBE-4505-8259-66F1C99097E2}" presName="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D211895-3FEA-42EF-B01D-87F83193BC0D}" srcId="{4646C01E-CFBE-4505-8259-66F1C99097E2}" destId="{0A2FEE2A-7439-4245-9FFE-ABD5BD2986D8}" srcOrd="0" destOrd="0" parTransId="{9C36DE50-E338-461B-A191-02FC152DC5FE}" sibTransId="{4B980317-37E9-4D68-ADEB-2454EEC1A09D}"/>
    <dgm:cxn modelId="{D89D957D-7C8A-462F-9B3E-E4D87348C969}" type="presOf" srcId="{AB1B08E5-F872-4834-A584-115004D04A44}" destId="{1CC5E041-E4A5-4410-BD2A-8752040929CF}" srcOrd="0" destOrd="1" presId="urn:microsoft.com/office/officeart/2005/8/layout/vList4"/>
    <dgm:cxn modelId="{84C094C8-51A2-4E86-9830-962D8537229F}" srcId="{03EC2267-936E-40B1-AD35-E6D15D6BAD10}" destId="{8030BE2C-35EE-4958-BC5D-8701FAEFC7E1}" srcOrd="1" destOrd="0" parTransId="{E362EF49-7CDE-458D-BCDD-170159A8F6BF}" sibTransId="{4B469248-9A7C-4342-8806-DC69EF68BFA5}"/>
    <dgm:cxn modelId="{BFDCD109-6A30-49D1-896E-68F703BF4268}" srcId="{4646C01E-CFBE-4505-8259-66F1C99097E2}" destId="{0954DE79-11A3-4154-A4D2-27D71F8A4EEB}" srcOrd="2" destOrd="0" parTransId="{0F79AE30-2A31-4E0E-BCFD-28EF2C571130}" sibTransId="{4C309FAD-A0BF-4ABD-8E2B-726979CB434B}"/>
    <dgm:cxn modelId="{FE7F4911-F9C7-46CE-A0A0-F883F8C39045}" type="presOf" srcId="{8030BE2C-35EE-4958-BC5D-8701FAEFC7E1}" destId="{F15999B6-3697-45D0-B7BE-301962A0448F}" srcOrd="1" destOrd="2" presId="urn:microsoft.com/office/officeart/2005/8/layout/vList4"/>
    <dgm:cxn modelId="{25196151-53F3-4FE0-83DE-C4CC1695066E}" srcId="{2E617F74-5B39-4C81-9E52-9278F84B7418}" destId="{E0CA7ED7-03B6-472E-A449-761A8FF8C64B}" srcOrd="1" destOrd="0" parTransId="{1B387C4E-759C-4ACD-8357-CCDA2F33A20D}" sibTransId="{2DEFBEF4-CA5A-4C89-929D-94A4BAB92752}"/>
    <dgm:cxn modelId="{7054F6DE-6145-4E5C-89E4-104DBADC1380}" type="presOf" srcId="{0A2FEE2A-7439-4245-9FFE-ABD5BD2986D8}" destId="{7EAAB393-7E48-4C84-9F54-514D0E1E387C}" srcOrd="1" destOrd="1" presId="urn:microsoft.com/office/officeart/2005/8/layout/vList4"/>
    <dgm:cxn modelId="{6E0D536C-3F74-4740-8315-8FEA0DA0BC94}" type="presOf" srcId="{9DD7ED35-0E7D-43F0-9FDC-0701857A2300}" destId="{907E39EC-3FBA-414D-9CBA-F374B1667521}" srcOrd="1" destOrd="3" presId="urn:microsoft.com/office/officeart/2005/8/layout/vList4"/>
    <dgm:cxn modelId="{E01B045F-8FEC-4F0E-889E-624F42A285EC}" type="presOf" srcId="{0954DE79-11A3-4154-A4D2-27D71F8A4EEB}" destId="{7EAAB393-7E48-4C84-9F54-514D0E1E387C}" srcOrd="1" destOrd="3" presId="urn:microsoft.com/office/officeart/2005/8/layout/vList4"/>
    <dgm:cxn modelId="{E670EF89-F99F-41DB-9D04-F2F14E1FB92D}" type="presOf" srcId="{AB1B08E5-F872-4834-A584-115004D04A44}" destId="{F15999B6-3697-45D0-B7BE-301962A0448F}" srcOrd="1" destOrd="1" presId="urn:microsoft.com/office/officeart/2005/8/layout/vList4"/>
    <dgm:cxn modelId="{9E15AA63-336C-4F6A-BF73-C5D1C2CB1E43}" srcId="{03EC2267-936E-40B1-AD35-E6D15D6BAD10}" destId="{AB1B08E5-F872-4834-A584-115004D04A44}" srcOrd="0" destOrd="0" parTransId="{9D47E5A2-A4A3-4E1A-BB7E-8B4D733AD5AC}" sibTransId="{815EC835-DCFB-410A-A543-8408F8813538}"/>
    <dgm:cxn modelId="{5F8491F9-42A4-458E-9CA9-253B72DDF06D}" type="presOf" srcId="{7C1693BE-ABE1-474B-AF53-ECF127962032}" destId="{60662DAB-7138-4994-9510-D3AA0DC89698}" srcOrd="0" destOrd="2" presId="urn:microsoft.com/office/officeart/2005/8/layout/vList4"/>
    <dgm:cxn modelId="{26CE5D42-4839-49AC-8875-7611CEBD06C7}" type="presOf" srcId="{03EC2267-936E-40B1-AD35-E6D15D6BAD10}" destId="{F15999B6-3697-45D0-B7BE-301962A0448F}" srcOrd="1" destOrd="0" presId="urn:microsoft.com/office/officeart/2005/8/layout/vList4"/>
    <dgm:cxn modelId="{25888B84-D4B7-4C6F-80CC-2B929344A241}" type="presOf" srcId="{C14F8E97-CCD3-4E7A-A046-7F111D14414E}" destId="{F15999B6-3697-45D0-B7BE-301962A0448F}" srcOrd="1" destOrd="3" presId="urn:microsoft.com/office/officeart/2005/8/layout/vList4"/>
    <dgm:cxn modelId="{11C9683F-91F7-4F59-B30B-87F0080657E4}" type="presOf" srcId="{03EC2267-936E-40B1-AD35-E6D15D6BAD10}" destId="{1CC5E041-E4A5-4410-BD2A-8752040929CF}" srcOrd="0" destOrd="0" presId="urn:microsoft.com/office/officeart/2005/8/layout/vList4"/>
    <dgm:cxn modelId="{1A20F79E-C701-43C1-B4DD-C96EB9C5C67F}" type="presOf" srcId="{DC8E2DC6-6BF7-42E0-B8ED-BD46BD807EDA}" destId="{0B495EA0-7EFF-4D63-9194-EFF167D84F85}" srcOrd="0" destOrd="3" presId="urn:microsoft.com/office/officeart/2005/8/layout/vList4"/>
    <dgm:cxn modelId="{69C7EFF6-B364-4219-B116-FCAE6C4B4AA0}" type="presOf" srcId="{3EDAEC74-B132-4A3E-8568-67A10F5D6946}" destId="{1CC5E041-E4A5-4410-BD2A-8752040929CF}" srcOrd="0" destOrd="5" presId="urn:microsoft.com/office/officeart/2005/8/layout/vList4"/>
    <dgm:cxn modelId="{AF404E06-7125-41C4-9FB4-184463BB9ECA}" type="presOf" srcId="{3EDAEC74-B132-4A3E-8568-67A10F5D6946}" destId="{F15999B6-3697-45D0-B7BE-301962A0448F}" srcOrd="1" destOrd="5" presId="urn:microsoft.com/office/officeart/2005/8/layout/vList4"/>
    <dgm:cxn modelId="{FCCAB02A-F4F3-4AF8-8C61-DC06909785E0}" type="presOf" srcId="{F0974EC3-B003-4F9F-A720-29CE6276D701}" destId="{907E39EC-3FBA-414D-9CBA-F374B1667521}" srcOrd="1" destOrd="4" presId="urn:microsoft.com/office/officeart/2005/8/layout/vList4"/>
    <dgm:cxn modelId="{A3D059E6-E207-4798-8608-144449ABA5AE}" srcId="{E0CA7ED7-03B6-472E-A449-761A8FF8C64B}" destId="{99C97931-CC09-46D8-BCE3-B4011268AED4}" srcOrd="1" destOrd="0" parTransId="{70A876AF-DA27-459C-8ACB-9C948C65452D}" sibTransId="{2D003A98-FAEB-4739-88AF-69A044013F86}"/>
    <dgm:cxn modelId="{59E72CBA-543D-4B89-91AD-30CDC9A290C9}" type="presOf" srcId="{518A51D1-AC33-4E8A-905C-CC1DB233C6F5}" destId="{F15999B6-3697-45D0-B7BE-301962A0448F}" srcOrd="1" destOrd="4" presId="urn:microsoft.com/office/officeart/2005/8/layout/vList4"/>
    <dgm:cxn modelId="{148E913C-EE68-4112-9A85-1A76FFEF62C1}" type="presOf" srcId="{4646C01E-CFBE-4505-8259-66F1C99097E2}" destId="{60662DAB-7138-4994-9510-D3AA0DC89698}" srcOrd="0" destOrd="0" presId="urn:microsoft.com/office/officeart/2005/8/layout/vList4"/>
    <dgm:cxn modelId="{D605FBC4-A6A2-4BA7-998E-98D6C931D424}" type="presOf" srcId="{0A2FEE2A-7439-4245-9FFE-ABD5BD2986D8}" destId="{60662DAB-7138-4994-9510-D3AA0DC89698}" srcOrd="0" destOrd="1" presId="urn:microsoft.com/office/officeart/2005/8/layout/vList4"/>
    <dgm:cxn modelId="{3CFCFFF8-8E7A-4981-9AC5-D1284AFB18A6}" type="presOf" srcId="{BC2FDC53-3BF0-49BE-AD88-E685B6C3320F}" destId="{4752BE69-9162-40DC-BBC5-095CFA711798}" srcOrd="1" destOrd="1" presId="urn:microsoft.com/office/officeart/2005/8/layout/vList4"/>
    <dgm:cxn modelId="{4BDFD796-F8BB-4F00-BF1A-42F28BA36326}" type="presOf" srcId="{F0974EC3-B003-4F9F-A720-29CE6276D701}" destId="{4DFB0F34-AEAD-454E-A929-D30B229BC440}" srcOrd="0" destOrd="4" presId="urn:microsoft.com/office/officeart/2005/8/layout/vList4"/>
    <dgm:cxn modelId="{A57A4B2F-775E-4B6A-9174-31781EA6DE14}" type="presOf" srcId="{DC8E2DC6-6BF7-42E0-B8ED-BD46BD807EDA}" destId="{4752BE69-9162-40DC-BBC5-095CFA711798}" srcOrd="1" destOrd="3" presId="urn:microsoft.com/office/officeart/2005/8/layout/vList4"/>
    <dgm:cxn modelId="{FE0BD563-FA16-4393-8823-086AA3628D74}" srcId="{4646C01E-CFBE-4505-8259-66F1C99097E2}" destId="{1DF68442-34CF-479F-AEE6-F6F9AD5E9F9A}" srcOrd="3" destOrd="0" parTransId="{76A05587-E6AB-4EE7-95CB-7BE04C692BD9}" sibTransId="{129ED997-85B6-4F79-848F-15DB298A7015}"/>
    <dgm:cxn modelId="{0ED7FC21-DF7B-46B1-9563-8A21D43DA7E7}" type="presOf" srcId="{2E617F74-5B39-4C81-9E52-9278F84B7418}" destId="{C2FE7EC3-BF97-4E7A-A150-6356F7527E7E}" srcOrd="0" destOrd="0" presId="urn:microsoft.com/office/officeart/2005/8/layout/vList4"/>
    <dgm:cxn modelId="{BD376D12-E468-4954-ACBA-3294C17846F3}" type="presOf" srcId="{F180263C-9AFE-48DC-9390-CFBEFB4C6625}" destId="{4DFB0F34-AEAD-454E-A929-D30B229BC440}" srcOrd="0" destOrd="1" presId="urn:microsoft.com/office/officeart/2005/8/layout/vList4"/>
    <dgm:cxn modelId="{E2972E8E-9176-4CF8-A973-5BC5EACE8744}" srcId="{03EC2267-936E-40B1-AD35-E6D15D6BAD10}" destId="{3EDAEC74-B132-4A3E-8568-67A10F5D6946}" srcOrd="4" destOrd="0" parTransId="{5250CF99-1CC7-4156-8F4F-951F250954F7}" sibTransId="{2C93F710-479F-446B-9CB5-5482E67624F7}"/>
    <dgm:cxn modelId="{B04E7E46-E2C2-444A-8A3D-6DA15BB2EB21}" srcId="{E0CA7ED7-03B6-472E-A449-761A8FF8C64B}" destId="{BC2FDC53-3BF0-49BE-AD88-E685B6C3320F}" srcOrd="0" destOrd="0" parTransId="{CF5B15E6-17DA-4C1B-BEB8-3057243D367C}" sibTransId="{435F59D5-5F88-4215-80F2-9D0F503FF07E}"/>
    <dgm:cxn modelId="{B8DDC9BF-93DF-43F8-821A-311A72648E0B}" srcId="{2E617F74-5B39-4C81-9E52-9278F84B7418}" destId="{4646C01E-CFBE-4505-8259-66F1C99097E2}" srcOrd="3" destOrd="0" parTransId="{A98ED1B1-4B58-4CB3-ACE8-081B07FB3AB0}" sibTransId="{0896F760-9DAA-4452-AAC9-B30332B7B2A7}"/>
    <dgm:cxn modelId="{A5FB89B1-0A61-4E68-84D5-81DC90CF86D4}" type="presOf" srcId="{77EDB083-39B2-45D5-91E2-A804331E6E5D}" destId="{4DFB0F34-AEAD-454E-A929-D30B229BC440}" srcOrd="0" destOrd="2" presId="urn:microsoft.com/office/officeart/2005/8/layout/vList4"/>
    <dgm:cxn modelId="{AD1B5E7B-ECB7-4C98-85D1-16BDED7D6269}" srcId="{2E617F74-5B39-4C81-9E52-9278F84B7418}" destId="{C383AE56-7A21-4E60-9C58-633D5F430157}" srcOrd="2" destOrd="0" parTransId="{09161FBF-5482-4F9E-B906-3CA7E3465C6C}" sibTransId="{C05E585B-E39E-4BFB-B374-8675CAA03A95}"/>
    <dgm:cxn modelId="{C5691021-5B3C-4953-AA4F-5D87846D09B5}" type="presOf" srcId="{518A51D1-AC33-4E8A-905C-CC1DB233C6F5}" destId="{1CC5E041-E4A5-4410-BD2A-8752040929CF}" srcOrd="0" destOrd="4" presId="urn:microsoft.com/office/officeart/2005/8/layout/vList4"/>
    <dgm:cxn modelId="{F4481A12-C08B-4B29-AD31-BDACD15876EE}" type="presOf" srcId="{4646C01E-CFBE-4505-8259-66F1C99097E2}" destId="{7EAAB393-7E48-4C84-9F54-514D0E1E387C}" srcOrd="1" destOrd="0" presId="urn:microsoft.com/office/officeart/2005/8/layout/vList4"/>
    <dgm:cxn modelId="{433CC2F6-E981-4AF9-9548-B69BF3737C4F}" type="presOf" srcId="{F180263C-9AFE-48DC-9390-CFBEFB4C6625}" destId="{907E39EC-3FBA-414D-9CBA-F374B1667521}" srcOrd="1" destOrd="1" presId="urn:microsoft.com/office/officeart/2005/8/layout/vList4"/>
    <dgm:cxn modelId="{EDF5C8CE-B505-4890-904F-7BF0C0B4A9E2}" type="presOf" srcId="{6045DA93-5267-444E-B264-D12C4D057E3A}" destId="{4752BE69-9162-40DC-BBC5-095CFA711798}" srcOrd="1" destOrd="4" presId="urn:microsoft.com/office/officeart/2005/8/layout/vList4"/>
    <dgm:cxn modelId="{AEA03920-60C1-49ED-AFB0-AB2656D2EFE8}" srcId="{03EC2267-936E-40B1-AD35-E6D15D6BAD10}" destId="{C14F8E97-CCD3-4E7A-A046-7F111D14414E}" srcOrd="2" destOrd="0" parTransId="{8B3EB8E4-8757-48DF-B60A-10EAF98F2670}" sibTransId="{F3976FBA-A8C3-4A03-85C5-8216434819D3}"/>
    <dgm:cxn modelId="{79EAFE20-1F95-4878-B994-080FE35DB9DA}" type="presOf" srcId="{0954DE79-11A3-4154-A4D2-27D71F8A4EEB}" destId="{60662DAB-7138-4994-9510-D3AA0DC89698}" srcOrd="0" destOrd="3" presId="urn:microsoft.com/office/officeart/2005/8/layout/vList4"/>
    <dgm:cxn modelId="{A3B0CC76-F986-4A8F-BC2E-1EFB7A8CE176}" type="presOf" srcId="{8030BE2C-35EE-4958-BC5D-8701FAEFC7E1}" destId="{1CC5E041-E4A5-4410-BD2A-8752040929CF}" srcOrd="0" destOrd="2" presId="urn:microsoft.com/office/officeart/2005/8/layout/vList4"/>
    <dgm:cxn modelId="{94B2B0A6-C0D0-476E-84D7-DEE8B9C080D0}" type="presOf" srcId="{C383AE56-7A21-4E60-9C58-633D5F430157}" destId="{4DFB0F34-AEAD-454E-A929-D30B229BC440}" srcOrd="0" destOrd="0" presId="urn:microsoft.com/office/officeart/2005/8/layout/vList4"/>
    <dgm:cxn modelId="{5B22D6E9-97E3-448B-B31D-2CEEDE1567B5}" type="presOf" srcId="{1DF68442-34CF-479F-AEE6-F6F9AD5E9F9A}" destId="{60662DAB-7138-4994-9510-D3AA0DC89698}" srcOrd="0" destOrd="4" presId="urn:microsoft.com/office/officeart/2005/8/layout/vList4"/>
    <dgm:cxn modelId="{CDEEADF2-FDA6-49D0-9F75-7A8BBACA5EDB}" srcId="{E0CA7ED7-03B6-472E-A449-761A8FF8C64B}" destId="{DC8E2DC6-6BF7-42E0-B8ED-BD46BD807EDA}" srcOrd="2" destOrd="0" parTransId="{C7443841-228E-47F7-8DB1-36E5FBE5BEAF}" sibTransId="{D5C92D25-39DE-492E-A31F-BDE111DE5323}"/>
    <dgm:cxn modelId="{C38BA916-FE18-46A6-B5A3-ED360DD68BB1}" type="presOf" srcId="{99C97931-CC09-46D8-BCE3-B4011268AED4}" destId="{4752BE69-9162-40DC-BBC5-095CFA711798}" srcOrd="1" destOrd="2" presId="urn:microsoft.com/office/officeart/2005/8/layout/vList4"/>
    <dgm:cxn modelId="{5A8A2021-514F-4330-A87D-886D9533BE36}" type="presOf" srcId="{99C97931-CC09-46D8-BCE3-B4011268AED4}" destId="{0B495EA0-7EFF-4D63-9194-EFF167D84F85}" srcOrd="0" destOrd="2" presId="urn:microsoft.com/office/officeart/2005/8/layout/vList4"/>
    <dgm:cxn modelId="{9E9DF5C0-7216-4C21-8D6D-8811FFDA2043}" srcId="{C383AE56-7A21-4E60-9C58-633D5F430157}" destId="{F0974EC3-B003-4F9F-A720-29CE6276D701}" srcOrd="3" destOrd="0" parTransId="{D2E3F172-0048-4C35-80AD-17417021B792}" sibTransId="{5BFC85B5-9E04-4A15-91A0-B67EE95B4868}"/>
    <dgm:cxn modelId="{228E8C19-C03E-4187-AE6C-D3C0B9E8CC5A}" srcId="{4646C01E-CFBE-4505-8259-66F1C99097E2}" destId="{7C1693BE-ABE1-474B-AF53-ECF127962032}" srcOrd="1" destOrd="0" parTransId="{F89BB5DE-2B31-4755-93D7-B366827A97B7}" sibTransId="{2A5CEA08-AE7A-4D3E-980F-68904A8BCF70}"/>
    <dgm:cxn modelId="{4FACA2B0-5F19-4E87-95AF-01B015201000}" type="presOf" srcId="{E0CA7ED7-03B6-472E-A449-761A8FF8C64B}" destId="{0B495EA0-7EFF-4D63-9194-EFF167D84F85}" srcOrd="0" destOrd="0" presId="urn:microsoft.com/office/officeart/2005/8/layout/vList4"/>
    <dgm:cxn modelId="{3F6449B1-2176-4FD3-BEFC-2487203A3AB0}" type="presOf" srcId="{1DF68442-34CF-479F-AEE6-F6F9AD5E9F9A}" destId="{7EAAB393-7E48-4C84-9F54-514D0E1E387C}" srcOrd="1" destOrd="4" presId="urn:microsoft.com/office/officeart/2005/8/layout/vList4"/>
    <dgm:cxn modelId="{3E3FC490-7B40-4633-888A-AE552AC51724}" srcId="{C383AE56-7A21-4E60-9C58-633D5F430157}" destId="{9DD7ED35-0E7D-43F0-9FDC-0701857A2300}" srcOrd="2" destOrd="0" parTransId="{0124F56B-6B05-492B-810E-FB5EC3D3761F}" sibTransId="{AD2C9108-EAC5-481A-AF4D-DE49BCE907BF}"/>
    <dgm:cxn modelId="{A0BFE5BA-481D-45DD-9B77-99F2F5E847A4}" type="presOf" srcId="{7C1693BE-ABE1-474B-AF53-ECF127962032}" destId="{7EAAB393-7E48-4C84-9F54-514D0E1E387C}" srcOrd="1" destOrd="2" presId="urn:microsoft.com/office/officeart/2005/8/layout/vList4"/>
    <dgm:cxn modelId="{952A2517-3C2F-40DC-82D3-0404372392A5}" srcId="{03EC2267-936E-40B1-AD35-E6D15D6BAD10}" destId="{518A51D1-AC33-4E8A-905C-CC1DB233C6F5}" srcOrd="3" destOrd="0" parTransId="{EE536698-89C5-4FF2-A96D-A685BB989A82}" sibTransId="{CC4C88A5-8E12-4B0B-A6D4-0B61424491BE}"/>
    <dgm:cxn modelId="{C161B74D-ADCB-483C-B265-25E0DE5E00D4}" srcId="{2E617F74-5B39-4C81-9E52-9278F84B7418}" destId="{03EC2267-936E-40B1-AD35-E6D15D6BAD10}" srcOrd="0" destOrd="0" parTransId="{3AB51503-A5FE-4EC6-8C31-41AE15828936}" sibTransId="{5E3B6033-7564-4C6A-8057-1DE3E0D85FBA}"/>
    <dgm:cxn modelId="{BCE1579E-AEAD-4F36-939C-F193FC76F051}" type="presOf" srcId="{E0CA7ED7-03B6-472E-A449-761A8FF8C64B}" destId="{4752BE69-9162-40DC-BBC5-095CFA711798}" srcOrd="1" destOrd="0" presId="urn:microsoft.com/office/officeart/2005/8/layout/vList4"/>
    <dgm:cxn modelId="{BC70F9D2-AA61-418D-A582-891676E6D49F}" type="presOf" srcId="{C383AE56-7A21-4E60-9C58-633D5F430157}" destId="{907E39EC-3FBA-414D-9CBA-F374B1667521}" srcOrd="1" destOrd="0" presId="urn:microsoft.com/office/officeart/2005/8/layout/vList4"/>
    <dgm:cxn modelId="{6F69307A-12E9-408A-8A90-D7ED4A43D973}" srcId="{C383AE56-7A21-4E60-9C58-633D5F430157}" destId="{77EDB083-39B2-45D5-91E2-A804331E6E5D}" srcOrd="1" destOrd="0" parTransId="{9ED0E1AE-D2E7-4415-9E4D-BFFFABA99CCB}" sibTransId="{0455D151-17CC-46E1-A969-A8912E88AF82}"/>
    <dgm:cxn modelId="{F4F30889-8E23-4192-B42C-718F68E36428}" srcId="{C383AE56-7A21-4E60-9C58-633D5F430157}" destId="{F180263C-9AFE-48DC-9390-CFBEFB4C6625}" srcOrd="0" destOrd="0" parTransId="{AAA17F02-8E8A-4950-9FE0-C6C6D220A27B}" sibTransId="{7A9DC19A-4322-43A8-8E5F-9FFD14B83706}"/>
    <dgm:cxn modelId="{7ACD4383-0BBE-4B45-9D5F-D4F6F7AC7823}" type="presOf" srcId="{77EDB083-39B2-45D5-91E2-A804331E6E5D}" destId="{907E39EC-3FBA-414D-9CBA-F374B1667521}" srcOrd="1" destOrd="2" presId="urn:microsoft.com/office/officeart/2005/8/layout/vList4"/>
    <dgm:cxn modelId="{5B5DFE60-056E-423B-95BF-397CE774CE04}" srcId="{E0CA7ED7-03B6-472E-A449-761A8FF8C64B}" destId="{6045DA93-5267-444E-B264-D12C4D057E3A}" srcOrd="3" destOrd="0" parTransId="{BB57BA41-FC52-4535-8E44-F657AE696D5B}" sibTransId="{4A9ED721-E0EB-4180-B082-916FD61902D2}"/>
    <dgm:cxn modelId="{19B2B355-F06A-4A1E-817D-34B5862865A2}" type="presOf" srcId="{C14F8E97-CCD3-4E7A-A046-7F111D14414E}" destId="{1CC5E041-E4A5-4410-BD2A-8752040929CF}" srcOrd="0" destOrd="3" presId="urn:microsoft.com/office/officeart/2005/8/layout/vList4"/>
    <dgm:cxn modelId="{69CEEA5B-54A5-463D-B799-77098A2107BE}" type="presOf" srcId="{9DD7ED35-0E7D-43F0-9FDC-0701857A2300}" destId="{4DFB0F34-AEAD-454E-A929-D30B229BC440}" srcOrd="0" destOrd="3" presId="urn:microsoft.com/office/officeart/2005/8/layout/vList4"/>
    <dgm:cxn modelId="{11869238-A5D0-4E97-A0A3-95E656587A19}" type="presOf" srcId="{6045DA93-5267-444E-B264-D12C4D057E3A}" destId="{0B495EA0-7EFF-4D63-9194-EFF167D84F85}" srcOrd="0" destOrd="4" presId="urn:microsoft.com/office/officeart/2005/8/layout/vList4"/>
    <dgm:cxn modelId="{61ECB618-C386-4ED5-94A2-3F1D468F078C}" type="presOf" srcId="{BC2FDC53-3BF0-49BE-AD88-E685B6C3320F}" destId="{0B495EA0-7EFF-4D63-9194-EFF167D84F85}" srcOrd="0" destOrd="1" presId="urn:microsoft.com/office/officeart/2005/8/layout/vList4"/>
    <dgm:cxn modelId="{0598415D-A67E-43CE-A4C9-4ED2EBF1985F}" type="presParOf" srcId="{C2FE7EC3-BF97-4E7A-A150-6356F7527E7E}" destId="{CF829C18-ABC1-4063-B907-9531AA9C78B4}" srcOrd="0" destOrd="0" presId="urn:microsoft.com/office/officeart/2005/8/layout/vList4"/>
    <dgm:cxn modelId="{DC0DEAA8-C444-47F0-86AB-7576311E8A27}" type="presParOf" srcId="{CF829C18-ABC1-4063-B907-9531AA9C78B4}" destId="{1CC5E041-E4A5-4410-BD2A-8752040929CF}" srcOrd="0" destOrd="0" presId="urn:microsoft.com/office/officeart/2005/8/layout/vList4"/>
    <dgm:cxn modelId="{407702E2-F26E-4547-90A2-01153476C1ED}" type="presParOf" srcId="{CF829C18-ABC1-4063-B907-9531AA9C78B4}" destId="{8DAE4543-AA2D-4002-A21B-DB1EC3B7600D}" srcOrd="1" destOrd="0" presId="urn:microsoft.com/office/officeart/2005/8/layout/vList4"/>
    <dgm:cxn modelId="{6DEC04F9-0AFF-4A04-9B55-494F27810831}" type="presParOf" srcId="{CF829C18-ABC1-4063-B907-9531AA9C78B4}" destId="{F15999B6-3697-45D0-B7BE-301962A0448F}" srcOrd="2" destOrd="0" presId="urn:microsoft.com/office/officeart/2005/8/layout/vList4"/>
    <dgm:cxn modelId="{A5B038A3-36FC-49E2-9C49-D484247C2C30}" type="presParOf" srcId="{C2FE7EC3-BF97-4E7A-A150-6356F7527E7E}" destId="{7CC7D486-A409-4817-8476-88DAC3B38FCC}" srcOrd="1" destOrd="0" presId="urn:microsoft.com/office/officeart/2005/8/layout/vList4"/>
    <dgm:cxn modelId="{49AF447D-6AEC-4B53-8A39-254EAA9F30F9}" type="presParOf" srcId="{C2FE7EC3-BF97-4E7A-A150-6356F7527E7E}" destId="{97DA81C9-79A5-4FFD-A68C-CC7A8E597586}" srcOrd="2" destOrd="0" presId="urn:microsoft.com/office/officeart/2005/8/layout/vList4"/>
    <dgm:cxn modelId="{EDC28CFA-9361-435E-8396-3AD73783F5F4}" type="presParOf" srcId="{97DA81C9-79A5-4FFD-A68C-CC7A8E597586}" destId="{0B495EA0-7EFF-4D63-9194-EFF167D84F85}" srcOrd="0" destOrd="0" presId="urn:microsoft.com/office/officeart/2005/8/layout/vList4"/>
    <dgm:cxn modelId="{16E17AAD-F413-48D0-8D8A-94C6ED21F30C}" type="presParOf" srcId="{97DA81C9-79A5-4FFD-A68C-CC7A8E597586}" destId="{98E8C7BC-962D-4711-B09B-F06A8B8A7E6B}" srcOrd="1" destOrd="0" presId="urn:microsoft.com/office/officeart/2005/8/layout/vList4"/>
    <dgm:cxn modelId="{6414173D-2A0F-496E-9949-BA390A20CFDD}" type="presParOf" srcId="{97DA81C9-79A5-4FFD-A68C-CC7A8E597586}" destId="{4752BE69-9162-40DC-BBC5-095CFA711798}" srcOrd="2" destOrd="0" presId="urn:microsoft.com/office/officeart/2005/8/layout/vList4"/>
    <dgm:cxn modelId="{FBFB36C2-56F3-41EC-B342-A51FD388DA94}" type="presParOf" srcId="{C2FE7EC3-BF97-4E7A-A150-6356F7527E7E}" destId="{B863DF6B-6779-4405-BA63-413BDD658E29}" srcOrd="3" destOrd="0" presId="urn:microsoft.com/office/officeart/2005/8/layout/vList4"/>
    <dgm:cxn modelId="{CEA1EB33-BC17-4C9D-B3BA-55E3140E6F2D}" type="presParOf" srcId="{C2FE7EC3-BF97-4E7A-A150-6356F7527E7E}" destId="{A8D5B3F6-8214-4BD4-AF73-A1C6F89142AB}" srcOrd="4" destOrd="0" presId="urn:microsoft.com/office/officeart/2005/8/layout/vList4"/>
    <dgm:cxn modelId="{96A2A67C-E667-44C9-B3C1-E961220D2CE2}" type="presParOf" srcId="{A8D5B3F6-8214-4BD4-AF73-A1C6F89142AB}" destId="{4DFB0F34-AEAD-454E-A929-D30B229BC440}" srcOrd="0" destOrd="0" presId="urn:microsoft.com/office/officeart/2005/8/layout/vList4"/>
    <dgm:cxn modelId="{D8036317-9A6B-4105-AAC6-0C757EBCC5E8}" type="presParOf" srcId="{A8D5B3F6-8214-4BD4-AF73-A1C6F89142AB}" destId="{8C7035C9-EB96-4AC4-810D-000254541E1A}" srcOrd="1" destOrd="0" presId="urn:microsoft.com/office/officeart/2005/8/layout/vList4"/>
    <dgm:cxn modelId="{41AFBBA0-3912-40C4-8106-E1ACB72F279F}" type="presParOf" srcId="{A8D5B3F6-8214-4BD4-AF73-A1C6F89142AB}" destId="{907E39EC-3FBA-414D-9CBA-F374B1667521}" srcOrd="2" destOrd="0" presId="urn:microsoft.com/office/officeart/2005/8/layout/vList4"/>
    <dgm:cxn modelId="{4DE2F42D-B2CF-4E3E-8C0E-F4C67DA293E6}" type="presParOf" srcId="{C2FE7EC3-BF97-4E7A-A150-6356F7527E7E}" destId="{4A2196F1-BFF9-4A40-B99E-56EE1E08C08D}" srcOrd="5" destOrd="0" presId="urn:microsoft.com/office/officeart/2005/8/layout/vList4"/>
    <dgm:cxn modelId="{D74C3B8F-E67B-4AB1-AFDB-208314F196E6}" type="presParOf" srcId="{C2FE7EC3-BF97-4E7A-A150-6356F7527E7E}" destId="{BFA67736-E553-48E8-A00B-76913D653928}" srcOrd="6" destOrd="0" presId="urn:microsoft.com/office/officeart/2005/8/layout/vList4"/>
    <dgm:cxn modelId="{D1D673FF-382A-4C93-BD45-19DA5F4675F8}" type="presParOf" srcId="{BFA67736-E553-48E8-A00B-76913D653928}" destId="{60662DAB-7138-4994-9510-D3AA0DC89698}" srcOrd="0" destOrd="0" presId="urn:microsoft.com/office/officeart/2005/8/layout/vList4"/>
    <dgm:cxn modelId="{5BEC9B24-A30C-410E-9077-A274AB139147}" type="presParOf" srcId="{BFA67736-E553-48E8-A00B-76913D653928}" destId="{2C7AAC5A-39F3-4757-A022-28AAD81E2A82}" srcOrd="1" destOrd="0" presId="urn:microsoft.com/office/officeart/2005/8/layout/vList4"/>
    <dgm:cxn modelId="{4344214C-9A90-4DF6-8C29-B4CF20E90FDA}" type="presParOf" srcId="{BFA67736-E553-48E8-A00B-76913D653928}" destId="{7EAAB393-7E48-4C84-9F54-514D0E1E387C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91B21BD-0784-494D-A4B0-8E782BD229BE}" type="doc">
      <dgm:prSet loTypeId="urn:microsoft.com/office/officeart/2005/8/layout/vList5" loCatId="list" qsTypeId="urn:microsoft.com/office/officeart/2005/8/quickstyle/3d1" qsCatId="3D" csTypeId="urn:microsoft.com/office/officeart/2005/8/colors/accent1_2#2" csCatId="accent1" phldr="1"/>
      <dgm:spPr/>
      <dgm:t>
        <a:bodyPr/>
        <a:lstStyle/>
        <a:p>
          <a:endParaRPr lang="ru-RU"/>
        </a:p>
      </dgm:t>
    </dgm:pt>
    <dgm:pt modelId="{CF6E88AD-C23B-4BE5-BAB3-950804C807E7}">
      <dgm:prSet phldrT="[Текст]"/>
      <dgm:spPr>
        <a:solidFill>
          <a:srgbClr val="008000"/>
        </a:solidFill>
      </dgm:spPr>
      <dgm:t>
        <a:bodyPr/>
        <a:lstStyle/>
        <a:p>
          <a:r>
            <a:rPr lang="ru-RU" dirty="0" smtClean="0"/>
            <a:t>Все риски</a:t>
          </a:r>
          <a:endParaRPr lang="ru-RU" dirty="0"/>
        </a:p>
      </dgm:t>
    </dgm:pt>
    <dgm:pt modelId="{A6DF02B1-7514-403E-A717-FAAD6A680920}" type="parTrans" cxnId="{EE10B45F-CC21-4B97-BCBC-3B7524F4BC50}">
      <dgm:prSet/>
      <dgm:spPr/>
      <dgm:t>
        <a:bodyPr/>
        <a:lstStyle/>
        <a:p>
          <a:endParaRPr lang="ru-RU"/>
        </a:p>
      </dgm:t>
    </dgm:pt>
    <dgm:pt modelId="{30F28BAD-59A7-48A1-AFDD-F167131DE310}" type="sibTrans" cxnId="{EE10B45F-CC21-4B97-BCBC-3B7524F4BC50}">
      <dgm:prSet/>
      <dgm:spPr/>
      <dgm:t>
        <a:bodyPr/>
        <a:lstStyle/>
        <a:p>
          <a:endParaRPr lang="ru-RU"/>
        </a:p>
      </dgm:t>
    </dgm:pt>
    <dgm:pt modelId="{CF93F94C-1C2B-4018-A152-83DF34987F84}">
      <dgm:prSet phldrT="[Текст]" custT="1"/>
      <dgm:spPr/>
      <dgm:t>
        <a:bodyPr/>
        <a:lstStyle/>
        <a:p>
          <a:pPr algn="just"/>
          <a:r>
            <a:rPr lang="ru-RU" sz="1000" b="1" dirty="0" smtClean="0"/>
            <a:t> утрата (гибель) или повреждение всего или части груза, произошедшие по любой причине</a:t>
          </a:r>
          <a:r>
            <a:rPr lang="ru-RU" sz="1000" dirty="0" smtClean="0"/>
            <a:t>, включая кражу, грабеж, разбойное нападение, умышленное или неумышленное повреждение груза третьими лицами, пропажу груза вместе с транспортным средством, пожар, взрыв, транспортные происшествия, аварии, катастрофы</a:t>
          </a:r>
          <a:endParaRPr lang="ru-RU" sz="1000" dirty="0"/>
        </a:p>
      </dgm:t>
    </dgm:pt>
    <dgm:pt modelId="{C2A019C8-6BF7-4154-8789-9D4C7D90DB7C}" type="parTrans" cxnId="{77BA32F8-E50D-415A-80F4-547B8E581D25}">
      <dgm:prSet/>
      <dgm:spPr/>
      <dgm:t>
        <a:bodyPr/>
        <a:lstStyle/>
        <a:p>
          <a:endParaRPr lang="ru-RU"/>
        </a:p>
      </dgm:t>
    </dgm:pt>
    <dgm:pt modelId="{263BFE9B-6042-4363-B689-9BBE45F6A91B}" type="sibTrans" cxnId="{77BA32F8-E50D-415A-80F4-547B8E581D25}">
      <dgm:prSet/>
      <dgm:spPr/>
      <dgm:t>
        <a:bodyPr/>
        <a:lstStyle/>
        <a:p>
          <a:endParaRPr lang="ru-RU"/>
        </a:p>
      </dgm:t>
    </dgm:pt>
    <dgm:pt modelId="{02A7F06B-329A-4CE5-BF8B-329EEE45A93E}">
      <dgm:prSet phldrT="[Текст]"/>
      <dgm:spPr>
        <a:solidFill>
          <a:srgbClr val="008000"/>
        </a:solidFill>
      </dgm:spPr>
      <dgm:t>
        <a:bodyPr/>
        <a:lstStyle/>
        <a:p>
          <a:r>
            <a:rPr lang="ru-RU" dirty="0" smtClean="0"/>
            <a:t>Частная авария</a:t>
          </a:r>
          <a:endParaRPr lang="ru-RU" dirty="0"/>
        </a:p>
      </dgm:t>
    </dgm:pt>
    <dgm:pt modelId="{94C2A503-B630-4270-9BA1-1A875380040E}" type="parTrans" cxnId="{381AB8A9-51D4-4FAF-957A-88EC8D0605D2}">
      <dgm:prSet/>
      <dgm:spPr/>
      <dgm:t>
        <a:bodyPr/>
        <a:lstStyle/>
        <a:p>
          <a:endParaRPr lang="ru-RU"/>
        </a:p>
      </dgm:t>
    </dgm:pt>
    <dgm:pt modelId="{5865917E-D0B0-479E-9B62-68B653FE143F}" type="sibTrans" cxnId="{381AB8A9-51D4-4FAF-957A-88EC8D0605D2}">
      <dgm:prSet/>
      <dgm:spPr/>
      <dgm:t>
        <a:bodyPr/>
        <a:lstStyle/>
        <a:p>
          <a:endParaRPr lang="ru-RU"/>
        </a:p>
      </dgm:t>
    </dgm:pt>
    <dgm:pt modelId="{18F5444D-CED5-42E1-9FED-772E12DB8EF8}">
      <dgm:prSet phldrT="[Текст]" custT="1"/>
      <dgm:spPr/>
      <dgm:t>
        <a:bodyPr/>
        <a:lstStyle/>
        <a:p>
          <a:pPr algn="just"/>
          <a:r>
            <a:rPr lang="ru-RU" sz="1000" b="1" dirty="0" smtClean="0"/>
            <a:t> утрата (гибель) или повреждение всего или части груза </a:t>
          </a:r>
          <a:r>
            <a:rPr lang="ru-RU" sz="1000" dirty="0" smtClean="0"/>
            <a:t>вследствие пожара, удара молнии, бури, вихря, извержения вулкана и других стихийных бедствий, крушения, опрокидывания или столкновения транспортных средств между собой, удара их о неподвижные или плавучие предметы (включая лед), посадки судна на мель, провала мостов, </a:t>
          </a:r>
          <a:r>
            <a:rPr lang="ru-RU" sz="1000" dirty="0" err="1" smtClean="0"/>
            <a:t>подмочки</a:t>
          </a:r>
          <a:r>
            <a:rPr lang="ru-RU" sz="1000" dirty="0" smtClean="0"/>
            <a:t> груза забортной водой, взрыва на транспортном средстве или вблизи него, а также вследствие мер, принятых для спасания и тушения пожара</a:t>
          </a:r>
          <a:endParaRPr lang="ru-RU" sz="1000" dirty="0"/>
        </a:p>
      </dgm:t>
    </dgm:pt>
    <dgm:pt modelId="{F7B9BAC3-B091-4FD6-A641-CE74492E8516}" type="parTrans" cxnId="{5569F375-869C-4000-961A-3C68DFFAD860}">
      <dgm:prSet/>
      <dgm:spPr/>
      <dgm:t>
        <a:bodyPr/>
        <a:lstStyle/>
        <a:p>
          <a:endParaRPr lang="ru-RU"/>
        </a:p>
      </dgm:t>
    </dgm:pt>
    <dgm:pt modelId="{4011DA5F-2BB3-48AA-9EB2-02A3656B5530}" type="sibTrans" cxnId="{5569F375-869C-4000-961A-3C68DFFAD860}">
      <dgm:prSet/>
      <dgm:spPr/>
      <dgm:t>
        <a:bodyPr/>
        <a:lstStyle/>
        <a:p>
          <a:endParaRPr lang="ru-RU"/>
        </a:p>
      </dgm:t>
    </dgm:pt>
    <dgm:pt modelId="{8D35370A-BB20-4877-BC00-8BC28CAA126E}">
      <dgm:prSet phldrT="[Текст]"/>
      <dgm:spPr>
        <a:solidFill>
          <a:srgbClr val="008000"/>
        </a:solidFill>
      </dgm:spPr>
      <dgm:t>
        <a:bodyPr/>
        <a:lstStyle/>
        <a:p>
          <a:r>
            <a:rPr lang="ru-RU" dirty="0" smtClean="0"/>
            <a:t>Только крушение</a:t>
          </a:r>
          <a:endParaRPr lang="ru-RU" dirty="0"/>
        </a:p>
      </dgm:t>
    </dgm:pt>
    <dgm:pt modelId="{40330A04-19A0-4FE7-A4D6-8138D71CEFB5}" type="parTrans" cxnId="{90DD46CB-9A6D-456E-9FC6-81C41A11E909}">
      <dgm:prSet/>
      <dgm:spPr/>
      <dgm:t>
        <a:bodyPr/>
        <a:lstStyle/>
        <a:p>
          <a:endParaRPr lang="ru-RU"/>
        </a:p>
      </dgm:t>
    </dgm:pt>
    <dgm:pt modelId="{9A5EA89E-D222-4E99-8D29-03E4C5782EF9}" type="sibTrans" cxnId="{90DD46CB-9A6D-456E-9FC6-81C41A11E909}">
      <dgm:prSet/>
      <dgm:spPr/>
      <dgm:t>
        <a:bodyPr/>
        <a:lstStyle/>
        <a:p>
          <a:endParaRPr lang="ru-RU"/>
        </a:p>
      </dgm:t>
    </dgm:pt>
    <dgm:pt modelId="{E3D94690-A3A2-483D-8351-037A237170FE}">
      <dgm:prSet phldrT="[Текст]" custT="1"/>
      <dgm:spPr/>
      <dgm:t>
        <a:bodyPr/>
        <a:lstStyle/>
        <a:p>
          <a:pPr algn="just"/>
          <a:r>
            <a:rPr lang="ru-RU" sz="1000" b="1" dirty="0" smtClean="0"/>
            <a:t> утрата (гибель) всего или части груза</a:t>
          </a:r>
          <a:r>
            <a:rPr lang="ru-RU" sz="1000" dirty="0" smtClean="0"/>
            <a:t> вследствие пожара, удара молнии, бури, вихря, извержения вулкана и других стихийных бедствий, крушения, опрокидывания или столкновения транспортных средств между собой, удара их о неподвижные или плавучие предметы (включая лед), посадки судна на мель, провала мостов, </a:t>
          </a:r>
          <a:r>
            <a:rPr lang="ru-RU" sz="1000" dirty="0" err="1" smtClean="0"/>
            <a:t>подмочки</a:t>
          </a:r>
          <a:r>
            <a:rPr lang="ru-RU" sz="1000" dirty="0" smtClean="0"/>
            <a:t> груза забортной водой, взрыва на транспортном средстве или вблизи него, а также вследствие мер, принятых для спасания и тушения пожара</a:t>
          </a:r>
          <a:endParaRPr lang="ru-RU" sz="1000" dirty="0"/>
        </a:p>
      </dgm:t>
    </dgm:pt>
    <dgm:pt modelId="{CA3125AB-AE7F-4F40-B47A-31AC1E22A9FA}" type="parTrans" cxnId="{0FEC6F63-493A-4FD1-8FB6-AC77F76BCBDF}">
      <dgm:prSet/>
      <dgm:spPr/>
      <dgm:t>
        <a:bodyPr/>
        <a:lstStyle/>
        <a:p>
          <a:endParaRPr lang="ru-RU"/>
        </a:p>
      </dgm:t>
    </dgm:pt>
    <dgm:pt modelId="{E2414282-E8F8-4709-ACB6-FF7CD3D925A2}" type="sibTrans" cxnId="{0FEC6F63-493A-4FD1-8FB6-AC77F76BCBDF}">
      <dgm:prSet/>
      <dgm:spPr/>
      <dgm:t>
        <a:bodyPr/>
        <a:lstStyle/>
        <a:p>
          <a:endParaRPr lang="ru-RU"/>
        </a:p>
      </dgm:t>
    </dgm:pt>
    <dgm:pt modelId="{D32137B7-7A6F-4BCF-9408-AD8BD7A84754}" type="pres">
      <dgm:prSet presAssocID="{791B21BD-0784-494D-A4B0-8E782BD229BE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F99F0DC4-A211-4340-AA31-CA03023E1D58}" type="pres">
      <dgm:prSet presAssocID="{CF6E88AD-C23B-4BE5-BAB3-950804C807E7}" presName="linNode" presStyleCnt="0"/>
      <dgm:spPr/>
    </dgm:pt>
    <dgm:pt modelId="{466CCE1C-C04B-4366-9567-C2D70F8706C9}" type="pres">
      <dgm:prSet presAssocID="{CF6E88AD-C23B-4BE5-BAB3-950804C807E7}" presName="parentText" presStyleLbl="node1" presStyleIdx="0" presStyleCnt="3" custScaleX="68124" custLinFactNeighborY="-675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164B4DA-57C9-4ACF-97B5-57EE1FAABA4D}" type="pres">
      <dgm:prSet presAssocID="{CF6E88AD-C23B-4BE5-BAB3-950804C807E7}" presName="descendantText" presStyleLbl="alignAccFollowNode1" presStyleIdx="0" presStyleCnt="3" custScaleX="11516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424AE0E-A465-45D5-A978-95DCE5D96452}" type="pres">
      <dgm:prSet presAssocID="{30F28BAD-59A7-48A1-AFDD-F167131DE310}" presName="sp" presStyleCnt="0"/>
      <dgm:spPr/>
    </dgm:pt>
    <dgm:pt modelId="{924A563A-1237-4982-BCE2-53E63F652845}" type="pres">
      <dgm:prSet presAssocID="{02A7F06B-329A-4CE5-BF8B-329EEE45A93E}" presName="linNode" presStyleCnt="0"/>
      <dgm:spPr/>
    </dgm:pt>
    <dgm:pt modelId="{0FBE9BF0-B7C0-48A0-908A-217A2D593F65}" type="pres">
      <dgm:prSet presAssocID="{02A7F06B-329A-4CE5-BF8B-329EEE45A93E}" presName="parentText" presStyleLbl="node1" presStyleIdx="1" presStyleCnt="3" custScaleX="6848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97ED4B6-5208-4E5F-BCE5-7009526AE41F}" type="pres">
      <dgm:prSet presAssocID="{02A7F06B-329A-4CE5-BF8B-329EEE45A93E}" presName="descendantText" presStyleLbl="alignAccFollowNode1" presStyleIdx="1" presStyleCnt="3" custScaleX="11516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77C2FB7-7E97-4799-AF11-1C819A04F829}" type="pres">
      <dgm:prSet presAssocID="{5865917E-D0B0-479E-9B62-68B653FE143F}" presName="sp" presStyleCnt="0"/>
      <dgm:spPr/>
    </dgm:pt>
    <dgm:pt modelId="{625A894F-D566-4483-8DBD-26155B7E830F}" type="pres">
      <dgm:prSet presAssocID="{8D35370A-BB20-4877-BC00-8BC28CAA126E}" presName="linNode" presStyleCnt="0"/>
      <dgm:spPr/>
    </dgm:pt>
    <dgm:pt modelId="{D9AB2A3E-F7F6-430B-AE5B-A99C9562407B}" type="pres">
      <dgm:prSet presAssocID="{8D35370A-BB20-4877-BC00-8BC28CAA126E}" presName="parentText" presStyleLbl="node1" presStyleIdx="2" presStyleCnt="3" custScaleX="6848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8EFB3F0-E89E-4233-A662-073B78445902}" type="pres">
      <dgm:prSet presAssocID="{8D35370A-BB20-4877-BC00-8BC28CAA126E}" presName="descendantText" presStyleLbl="alignAccFollowNode1" presStyleIdx="2" presStyleCnt="3" custScaleX="11516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505327A-5A32-4809-85B2-F30C44F7DEBB}" type="presOf" srcId="{8D35370A-BB20-4877-BC00-8BC28CAA126E}" destId="{D9AB2A3E-F7F6-430B-AE5B-A99C9562407B}" srcOrd="0" destOrd="0" presId="urn:microsoft.com/office/officeart/2005/8/layout/vList5"/>
    <dgm:cxn modelId="{5E4E7629-5B5E-46E5-9BD3-E16BBC9F3AE7}" type="presOf" srcId="{CF6E88AD-C23B-4BE5-BAB3-950804C807E7}" destId="{466CCE1C-C04B-4366-9567-C2D70F8706C9}" srcOrd="0" destOrd="0" presId="urn:microsoft.com/office/officeart/2005/8/layout/vList5"/>
    <dgm:cxn modelId="{EE10B45F-CC21-4B97-BCBC-3B7524F4BC50}" srcId="{791B21BD-0784-494D-A4B0-8E782BD229BE}" destId="{CF6E88AD-C23B-4BE5-BAB3-950804C807E7}" srcOrd="0" destOrd="0" parTransId="{A6DF02B1-7514-403E-A717-FAAD6A680920}" sibTransId="{30F28BAD-59A7-48A1-AFDD-F167131DE310}"/>
    <dgm:cxn modelId="{381AB8A9-51D4-4FAF-957A-88EC8D0605D2}" srcId="{791B21BD-0784-494D-A4B0-8E782BD229BE}" destId="{02A7F06B-329A-4CE5-BF8B-329EEE45A93E}" srcOrd="1" destOrd="0" parTransId="{94C2A503-B630-4270-9BA1-1A875380040E}" sibTransId="{5865917E-D0B0-479E-9B62-68B653FE143F}"/>
    <dgm:cxn modelId="{A3A9818A-9731-4F62-8B9A-24CAC7D5FF36}" type="presOf" srcId="{E3D94690-A3A2-483D-8351-037A237170FE}" destId="{A8EFB3F0-E89E-4233-A662-073B78445902}" srcOrd="0" destOrd="0" presId="urn:microsoft.com/office/officeart/2005/8/layout/vList5"/>
    <dgm:cxn modelId="{90DD46CB-9A6D-456E-9FC6-81C41A11E909}" srcId="{791B21BD-0784-494D-A4B0-8E782BD229BE}" destId="{8D35370A-BB20-4877-BC00-8BC28CAA126E}" srcOrd="2" destOrd="0" parTransId="{40330A04-19A0-4FE7-A4D6-8138D71CEFB5}" sibTransId="{9A5EA89E-D222-4E99-8D29-03E4C5782EF9}"/>
    <dgm:cxn modelId="{FE4C9B21-3A26-4C81-9AC9-EB4348DBC27A}" type="presOf" srcId="{02A7F06B-329A-4CE5-BF8B-329EEE45A93E}" destId="{0FBE9BF0-B7C0-48A0-908A-217A2D593F65}" srcOrd="0" destOrd="0" presId="urn:microsoft.com/office/officeart/2005/8/layout/vList5"/>
    <dgm:cxn modelId="{D8CFA0E9-4D04-4113-8A78-CB24FB06E6AF}" type="presOf" srcId="{CF93F94C-1C2B-4018-A152-83DF34987F84}" destId="{B164B4DA-57C9-4ACF-97B5-57EE1FAABA4D}" srcOrd="0" destOrd="0" presId="urn:microsoft.com/office/officeart/2005/8/layout/vList5"/>
    <dgm:cxn modelId="{5569F375-869C-4000-961A-3C68DFFAD860}" srcId="{02A7F06B-329A-4CE5-BF8B-329EEE45A93E}" destId="{18F5444D-CED5-42E1-9FED-772E12DB8EF8}" srcOrd="0" destOrd="0" parTransId="{F7B9BAC3-B091-4FD6-A641-CE74492E8516}" sibTransId="{4011DA5F-2BB3-48AA-9EB2-02A3656B5530}"/>
    <dgm:cxn modelId="{8276494E-70C6-4EFF-B9F6-FAF7B8A530AC}" type="presOf" srcId="{18F5444D-CED5-42E1-9FED-772E12DB8EF8}" destId="{397ED4B6-5208-4E5F-BCE5-7009526AE41F}" srcOrd="0" destOrd="0" presId="urn:microsoft.com/office/officeart/2005/8/layout/vList5"/>
    <dgm:cxn modelId="{0FEC6F63-493A-4FD1-8FB6-AC77F76BCBDF}" srcId="{8D35370A-BB20-4877-BC00-8BC28CAA126E}" destId="{E3D94690-A3A2-483D-8351-037A237170FE}" srcOrd="0" destOrd="0" parTransId="{CA3125AB-AE7F-4F40-B47A-31AC1E22A9FA}" sibTransId="{E2414282-E8F8-4709-ACB6-FF7CD3D925A2}"/>
    <dgm:cxn modelId="{77BA32F8-E50D-415A-80F4-547B8E581D25}" srcId="{CF6E88AD-C23B-4BE5-BAB3-950804C807E7}" destId="{CF93F94C-1C2B-4018-A152-83DF34987F84}" srcOrd="0" destOrd="0" parTransId="{C2A019C8-6BF7-4154-8789-9D4C7D90DB7C}" sibTransId="{263BFE9B-6042-4363-B689-9BBE45F6A91B}"/>
    <dgm:cxn modelId="{670100C3-EDDB-4D17-8D65-5A3C437CD998}" type="presOf" srcId="{791B21BD-0784-494D-A4B0-8E782BD229BE}" destId="{D32137B7-7A6F-4BCF-9408-AD8BD7A84754}" srcOrd="0" destOrd="0" presId="urn:microsoft.com/office/officeart/2005/8/layout/vList5"/>
    <dgm:cxn modelId="{52F63A70-08B5-4F50-8A87-48BC014E4712}" type="presParOf" srcId="{D32137B7-7A6F-4BCF-9408-AD8BD7A84754}" destId="{F99F0DC4-A211-4340-AA31-CA03023E1D58}" srcOrd="0" destOrd="0" presId="urn:microsoft.com/office/officeart/2005/8/layout/vList5"/>
    <dgm:cxn modelId="{638E2209-3ED0-44CC-AA2E-B67D497802CE}" type="presParOf" srcId="{F99F0DC4-A211-4340-AA31-CA03023E1D58}" destId="{466CCE1C-C04B-4366-9567-C2D70F8706C9}" srcOrd="0" destOrd="0" presId="urn:microsoft.com/office/officeart/2005/8/layout/vList5"/>
    <dgm:cxn modelId="{57AC64BF-1BAC-4224-AEDC-753C19CEFCCE}" type="presParOf" srcId="{F99F0DC4-A211-4340-AA31-CA03023E1D58}" destId="{B164B4DA-57C9-4ACF-97B5-57EE1FAABA4D}" srcOrd="1" destOrd="0" presId="urn:microsoft.com/office/officeart/2005/8/layout/vList5"/>
    <dgm:cxn modelId="{9C754963-6493-4B10-BF27-E19ECAA3DEED}" type="presParOf" srcId="{D32137B7-7A6F-4BCF-9408-AD8BD7A84754}" destId="{F424AE0E-A465-45D5-A978-95DCE5D96452}" srcOrd="1" destOrd="0" presId="urn:microsoft.com/office/officeart/2005/8/layout/vList5"/>
    <dgm:cxn modelId="{B48741FC-04A8-4395-9DDE-DFC27F7700DE}" type="presParOf" srcId="{D32137B7-7A6F-4BCF-9408-AD8BD7A84754}" destId="{924A563A-1237-4982-BCE2-53E63F652845}" srcOrd="2" destOrd="0" presId="urn:microsoft.com/office/officeart/2005/8/layout/vList5"/>
    <dgm:cxn modelId="{D5F4D225-BE69-4E16-AFC1-CAFA85F82446}" type="presParOf" srcId="{924A563A-1237-4982-BCE2-53E63F652845}" destId="{0FBE9BF0-B7C0-48A0-908A-217A2D593F65}" srcOrd="0" destOrd="0" presId="urn:microsoft.com/office/officeart/2005/8/layout/vList5"/>
    <dgm:cxn modelId="{8953C165-4D43-4A6C-BA39-A858CB946922}" type="presParOf" srcId="{924A563A-1237-4982-BCE2-53E63F652845}" destId="{397ED4B6-5208-4E5F-BCE5-7009526AE41F}" srcOrd="1" destOrd="0" presId="urn:microsoft.com/office/officeart/2005/8/layout/vList5"/>
    <dgm:cxn modelId="{B4EDB20A-9041-4AF9-934C-C6BF6D2ECBB3}" type="presParOf" srcId="{D32137B7-7A6F-4BCF-9408-AD8BD7A84754}" destId="{177C2FB7-7E97-4799-AF11-1C819A04F829}" srcOrd="3" destOrd="0" presId="urn:microsoft.com/office/officeart/2005/8/layout/vList5"/>
    <dgm:cxn modelId="{17BA5A78-D96A-4300-B034-5077A971F0EE}" type="presParOf" srcId="{D32137B7-7A6F-4BCF-9408-AD8BD7A84754}" destId="{625A894F-D566-4483-8DBD-26155B7E830F}" srcOrd="4" destOrd="0" presId="urn:microsoft.com/office/officeart/2005/8/layout/vList5"/>
    <dgm:cxn modelId="{EA1C5D3A-A5BC-462B-A918-5CF0DACF4B66}" type="presParOf" srcId="{625A894F-D566-4483-8DBD-26155B7E830F}" destId="{D9AB2A3E-F7F6-430B-AE5B-A99C9562407B}" srcOrd="0" destOrd="0" presId="urn:microsoft.com/office/officeart/2005/8/layout/vList5"/>
    <dgm:cxn modelId="{7F7E3507-9217-454F-8CA6-7E37DDDCA7BC}" type="presParOf" srcId="{625A894F-D566-4483-8DBD-26155B7E830F}" destId="{A8EFB3F0-E89E-4233-A662-073B78445902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127E01F-0E40-48A3-96CF-0CB4AE3EE229}" type="doc">
      <dgm:prSet loTypeId="urn:microsoft.com/office/officeart/2005/8/layout/cycle4" loCatId="relationship" qsTypeId="urn:microsoft.com/office/officeart/2005/8/quickstyle/3d1" qsCatId="3D" csTypeId="urn:microsoft.com/office/officeart/2005/8/colors/colorful1" csCatId="colorful" phldr="1"/>
      <dgm:spPr/>
      <dgm:t>
        <a:bodyPr/>
        <a:lstStyle/>
        <a:p>
          <a:endParaRPr lang="ru-RU"/>
        </a:p>
      </dgm:t>
    </dgm:pt>
    <dgm:pt modelId="{8D5A74A5-F275-4384-B170-FC7FFE7D8EFC}">
      <dgm:prSet phldrT="[Текст]" custT="1"/>
      <dgm:spPr/>
      <dgm:t>
        <a:bodyPr/>
        <a:lstStyle/>
        <a:p>
          <a:r>
            <a:rPr lang="ru-RU" sz="1600" dirty="0" smtClean="0"/>
            <a:t>Строительно-монтажные работы</a:t>
          </a:r>
          <a:endParaRPr lang="ru-RU" sz="1600" dirty="0"/>
        </a:p>
      </dgm:t>
    </dgm:pt>
    <dgm:pt modelId="{FDD785AD-DD69-4891-9BDF-525CAA9D9E04}" type="parTrans" cxnId="{6D934A16-1423-4888-A851-9DC30E6A7A44}">
      <dgm:prSet/>
      <dgm:spPr/>
      <dgm:t>
        <a:bodyPr/>
        <a:lstStyle/>
        <a:p>
          <a:endParaRPr lang="ru-RU" sz="1100"/>
        </a:p>
      </dgm:t>
    </dgm:pt>
    <dgm:pt modelId="{2E3C8E58-FC69-4196-B785-D2FAD86A1FD3}" type="sibTrans" cxnId="{6D934A16-1423-4888-A851-9DC30E6A7A44}">
      <dgm:prSet/>
      <dgm:spPr/>
      <dgm:t>
        <a:bodyPr/>
        <a:lstStyle/>
        <a:p>
          <a:endParaRPr lang="ru-RU" sz="1100"/>
        </a:p>
      </dgm:t>
    </dgm:pt>
    <dgm:pt modelId="{5BC99C4D-7772-43FE-8541-1B9C8F57429F}">
      <dgm:prSet phldrT="[Текст]" custT="1"/>
      <dgm:spPr/>
      <dgm:t>
        <a:bodyPr/>
        <a:lstStyle/>
        <a:p>
          <a:r>
            <a:rPr lang="ru-RU" sz="1600" dirty="0" smtClean="0"/>
            <a:t>Природные риски</a:t>
          </a:r>
          <a:endParaRPr lang="ru-RU" sz="1600" dirty="0"/>
        </a:p>
      </dgm:t>
    </dgm:pt>
    <dgm:pt modelId="{5ED20281-57BA-4A7F-9241-099674077EE9}" type="parTrans" cxnId="{60E7B1E6-B3F2-45AA-B07C-700257C8CFA4}">
      <dgm:prSet/>
      <dgm:spPr/>
      <dgm:t>
        <a:bodyPr/>
        <a:lstStyle/>
        <a:p>
          <a:endParaRPr lang="ru-RU" sz="1100"/>
        </a:p>
      </dgm:t>
    </dgm:pt>
    <dgm:pt modelId="{9F1AD55E-51CC-4080-A6DB-13F056492721}" type="sibTrans" cxnId="{60E7B1E6-B3F2-45AA-B07C-700257C8CFA4}">
      <dgm:prSet/>
      <dgm:spPr/>
      <dgm:t>
        <a:bodyPr/>
        <a:lstStyle/>
        <a:p>
          <a:endParaRPr lang="ru-RU" sz="1100"/>
        </a:p>
      </dgm:t>
    </dgm:pt>
    <dgm:pt modelId="{F1DB10D3-A0C3-4617-A537-18E3A9BC0A1D}">
      <dgm:prSet phldrT="[Текст]" custT="1"/>
      <dgm:spPr/>
      <dgm:t>
        <a:bodyPr/>
        <a:lstStyle/>
        <a:p>
          <a:r>
            <a:rPr lang="ru-RU" sz="1600" dirty="0" smtClean="0"/>
            <a:t>Гражданская ответственность при проведении СМР</a:t>
          </a:r>
          <a:endParaRPr lang="ru-RU" sz="1600" dirty="0"/>
        </a:p>
      </dgm:t>
    </dgm:pt>
    <dgm:pt modelId="{DEA176FD-3EEA-4476-B530-205346CA48BB}" type="parTrans" cxnId="{00434768-19F5-42AB-BEF7-DBAA954A444A}">
      <dgm:prSet/>
      <dgm:spPr/>
      <dgm:t>
        <a:bodyPr/>
        <a:lstStyle/>
        <a:p>
          <a:endParaRPr lang="ru-RU" sz="1100"/>
        </a:p>
      </dgm:t>
    </dgm:pt>
    <dgm:pt modelId="{3C1B29B1-DBF3-4CB2-B044-7012097AF712}" type="sibTrans" cxnId="{00434768-19F5-42AB-BEF7-DBAA954A444A}">
      <dgm:prSet/>
      <dgm:spPr/>
      <dgm:t>
        <a:bodyPr/>
        <a:lstStyle/>
        <a:p>
          <a:endParaRPr lang="ru-RU" sz="1100"/>
        </a:p>
      </dgm:t>
    </dgm:pt>
    <dgm:pt modelId="{A14D9D7C-59B4-44F3-BE69-BDAD51D72E89}">
      <dgm:prSet phldrT="[Текст]" custT="1"/>
      <dgm:spPr/>
      <dgm:t>
        <a:bodyPr/>
        <a:lstStyle/>
        <a:p>
          <a:pPr algn="r"/>
          <a:r>
            <a:rPr lang="ru-RU" sz="1600" dirty="0" smtClean="0"/>
            <a:t>Причинение вреда жизни и здоровью третьих лиц, в связи с осуществлением строительной деятельности</a:t>
          </a:r>
          <a:endParaRPr lang="ru-RU" sz="1600" dirty="0"/>
        </a:p>
      </dgm:t>
    </dgm:pt>
    <dgm:pt modelId="{6048570D-E5CB-4CA7-964E-724064A4C912}" type="parTrans" cxnId="{4CF3BCAB-605C-4FB2-B7AE-A898D7C6080D}">
      <dgm:prSet/>
      <dgm:spPr/>
      <dgm:t>
        <a:bodyPr/>
        <a:lstStyle/>
        <a:p>
          <a:endParaRPr lang="ru-RU" sz="1100"/>
        </a:p>
      </dgm:t>
    </dgm:pt>
    <dgm:pt modelId="{9E62DEAF-A0AE-4BB0-8B48-2A9297F9A036}" type="sibTrans" cxnId="{4CF3BCAB-605C-4FB2-B7AE-A898D7C6080D}">
      <dgm:prSet/>
      <dgm:spPr/>
      <dgm:t>
        <a:bodyPr/>
        <a:lstStyle/>
        <a:p>
          <a:endParaRPr lang="ru-RU" sz="1100"/>
        </a:p>
      </dgm:t>
    </dgm:pt>
    <dgm:pt modelId="{C5DBCD95-3482-400F-A62D-79658FBA8F74}">
      <dgm:prSet phldrT="[Текст]" custT="1"/>
      <dgm:spPr/>
      <dgm:t>
        <a:bodyPr/>
        <a:lstStyle/>
        <a:p>
          <a:r>
            <a:rPr lang="ru-RU" sz="1600" dirty="0" err="1" smtClean="0"/>
            <a:t>Послепусковые</a:t>
          </a:r>
          <a:r>
            <a:rPr lang="ru-RU" sz="1600" dirty="0" smtClean="0"/>
            <a:t> гарантийные обязательства</a:t>
          </a:r>
          <a:endParaRPr lang="ru-RU" sz="1600" dirty="0"/>
        </a:p>
      </dgm:t>
    </dgm:pt>
    <dgm:pt modelId="{E1593473-3E13-4BE1-AEAD-2E0A51612245}" type="parTrans" cxnId="{6F4F0164-7B7B-4E90-BE6E-FE849532DA3B}">
      <dgm:prSet/>
      <dgm:spPr/>
      <dgm:t>
        <a:bodyPr/>
        <a:lstStyle/>
        <a:p>
          <a:endParaRPr lang="ru-RU" sz="1100"/>
        </a:p>
      </dgm:t>
    </dgm:pt>
    <dgm:pt modelId="{D04FA99A-6F9B-41A2-8C41-D00EBDCFBCC6}" type="sibTrans" cxnId="{6F4F0164-7B7B-4E90-BE6E-FE849532DA3B}">
      <dgm:prSet/>
      <dgm:spPr/>
      <dgm:t>
        <a:bodyPr/>
        <a:lstStyle/>
        <a:p>
          <a:endParaRPr lang="ru-RU" sz="1100"/>
        </a:p>
      </dgm:t>
    </dgm:pt>
    <dgm:pt modelId="{CA24D8FE-15D5-4DCF-A286-90F9B46B8143}">
      <dgm:prSet phldrT="[Текст]" custT="1"/>
      <dgm:spPr/>
      <dgm:t>
        <a:bodyPr anchor="b"/>
        <a:lstStyle/>
        <a:p>
          <a:pPr algn="r"/>
          <a:r>
            <a:rPr lang="ru-RU" sz="1600" dirty="0" smtClean="0"/>
            <a:t>Ремонт, замена, восстановление объекта, вследствие допущенных недостатков при его строительстве</a:t>
          </a:r>
          <a:endParaRPr lang="ru-RU" sz="1600" dirty="0"/>
        </a:p>
      </dgm:t>
    </dgm:pt>
    <dgm:pt modelId="{A26EE4E9-195D-467C-8A99-96E06EC0B018}" type="parTrans" cxnId="{02141FBB-0E15-4F88-B9AC-042BD45FBB4F}">
      <dgm:prSet/>
      <dgm:spPr/>
      <dgm:t>
        <a:bodyPr/>
        <a:lstStyle/>
        <a:p>
          <a:endParaRPr lang="ru-RU" sz="1100"/>
        </a:p>
      </dgm:t>
    </dgm:pt>
    <dgm:pt modelId="{D89E45B2-6F92-4E28-80CA-B3812BCA54BD}" type="sibTrans" cxnId="{02141FBB-0E15-4F88-B9AC-042BD45FBB4F}">
      <dgm:prSet/>
      <dgm:spPr/>
      <dgm:t>
        <a:bodyPr/>
        <a:lstStyle/>
        <a:p>
          <a:endParaRPr lang="ru-RU" sz="1100"/>
        </a:p>
      </dgm:t>
    </dgm:pt>
    <dgm:pt modelId="{E61393C5-DEA0-4F16-80EA-E381CA51F170}">
      <dgm:prSet phldrT="[Текст]" custT="1"/>
      <dgm:spPr/>
      <dgm:t>
        <a:bodyPr/>
        <a:lstStyle/>
        <a:p>
          <a:r>
            <a:rPr lang="ru-RU" sz="1600" dirty="0" smtClean="0"/>
            <a:t>Убытки из-за  задержки ввода в эксплуатацию объекта</a:t>
          </a:r>
          <a:endParaRPr lang="ru-RU" sz="1600" dirty="0"/>
        </a:p>
      </dgm:t>
    </dgm:pt>
    <dgm:pt modelId="{2B8651CF-9822-456B-A54E-A94D6D25AAD6}" type="parTrans" cxnId="{2F857BC7-651A-48CB-9F21-47BF1E7F2B50}">
      <dgm:prSet/>
      <dgm:spPr/>
      <dgm:t>
        <a:bodyPr/>
        <a:lstStyle/>
        <a:p>
          <a:endParaRPr lang="ru-RU" sz="1100"/>
        </a:p>
      </dgm:t>
    </dgm:pt>
    <dgm:pt modelId="{34B67329-EBF7-40F4-8E86-B085D859E93F}" type="sibTrans" cxnId="{2F857BC7-651A-48CB-9F21-47BF1E7F2B50}">
      <dgm:prSet/>
      <dgm:spPr/>
      <dgm:t>
        <a:bodyPr/>
        <a:lstStyle/>
        <a:p>
          <a:endParaRPr lang="ru-RU" sz="1100"/>
        </a:p>
      </dgm:t>
    </dgm:pt>
    <dgm:pt modelId="{063AEDCA-693B-40A7-AFCF-0CB756C62BF5}">
      <dgm:prSet phldrT="[Текст]" custT="1"/>
      <dgm:spPr/>
      <dgm:t>
        <a:bodyPr anchor="b"/>
        <a:lstStyle/>
        <a:p>
          <a:r>
            <a:rPr lang="ru-RU" sz="1600" dirty="0" smtClean="0"/>
            <a:t> Дополнительные расходы в связи с задержкой ввода объекта из-за страхового события на площадке</a:t>
          </a:r>
          <a:endParaRPr lang="ru-RU" sz="1600" dirty="0"/>
        </a:p>
      </dgm:t>
    </dgm:pt>
    <dgm:pt modelId="{65A166BD-1FA2-4B09-9DE8-9A475329A778}" type="parTrans" cxnId="{6950D2B3-EA11-44E3-B6CF-6C924D7B51BB}">
      <dgm:prSet/>
      <dgm:spPr/>
      <dgm:t>
        <a:bodyPr/>
        <a:lstStyle/>
        <a:p>
          <a:endParaRPr lang="ru-RU" sz="1100"/>
        </a:p>
      </dgm:t>
    </dgm:pt>
    <dgm:pt modelId="{E7742A9B-60D8-446B-930A-C9C9CB2EA2ED}" type="sibTrans" cxnId="{6950D2B3-EA11-44E3-B6CF-6C924D7B51BB}">
      <dgm:prSet/>
      <dgm:spPr/>
      <dgm:t>
        <a:bodyPr/>
        <a:lstStyle/>
        <a:p>
          <a:endParaRPr lang="ru-RU" sz="1100"/>
        </a:p>
      </dgm:t>
    </dgm:pt>
    <dgm:pt modelId="{8C4F169B-2582-48A3-A532-2DB66E0C04C8}">
      <dgm:prSet phldrT="[Текст]" custT="1"/>
      <dgm:spPr/>
      <dgm:t>
        <a:bodyPr/>
        <a:lstStyle/>
        <a:p>
          <a:r>
            <a:rPr lang="ru-RU" sz="1600" dirty="0" smtClean="0"/>
            <a:t>Техногенные риски</a:t>
          </a:r>
          <a:endParaRPr lang="ru-RU" sz="1600" dirty="0"/>
        </a:p>
      </dgm:t>
    </dgm:pt>
    <dgm:pt modelId="{AD4451F7-E397-48B9-A012-301BC4D608A7}" type="parTrans" cxnId="{B76EF539-B8A9-4C7E-A612-E8EDB9925AC9}">
      <dgm:prSet/>
      <dgm:spPr/>
      <dgm:t>
        <a:bodyPr/>
        <a:lstStyle/>
        <a:p>
          <a:endParaRPr lang="ru-RU" sz="1100"/>
        </a:p>
      </dgm:t>
    </dgm:pt>
    <dgm:pt modelId="{43138BC6-076A-4841-917B-837642CA57BA}" type="sibTrans" cxnId="{B76EF539-B8A9-4C7E-A612-E8EDB9925AC9}">
      <dgm:prSet/>
      <dgm:spPr/>
      <dgm:t>
        <a:bodyPr/>
        <a:lstStyle/>
        <a:p>
          <a:endParaRPr lang="ru-RU" sz="1100"/>
        </a:p>
      </dgm:t>
    </dgm:pt>
    <dgm:pt modelId="{E8A2D58B-4618-4626-AC00-D92D9D139D6F}">
      <dgm:prSet phldrT="[Текст]" custT="1"/>
      <dgm:spPr/>
      <dgm:t>
        <a:bodyPr/>
        <a:lstStyle/>
        <a:p>
          <a:endParaRPr lang="ru-RU" sz="1600" dirty="0"/>
        </a:p>
      </dgm:t>
    </dgm:pt>
    <dgm:pt modelId="{AF707615-093A-4AA6-9D67-B2F8BA8F8A23}" type="parTrans" cxnId="{78C8E586-418C-4B93-9731-5C7D06211960}">
      <dgm:prSet/>
      <dgm:spPr/>
      <dgm:t>
        <a:bodyPr/>
        <a:lstStyle/>
        <a:p>
          <a:endParaRPr lang="ru-RU" sz="1100"/>
        </a:p>
      </dgm:t>
    </dgm:pt>
    <dgm:pt modelId="{398681AA-1D25-410F-9332-D8E7B7D48708}" type="sibTrans" cxnId="{78C8E586-418C-4B93-9731-5C7D06211960}">
      <dgm:prSet/>
      <dgm:spPr/>
      <dgm:t>
        <a:bodyPr/>
        <a:lstStyle/>
        <a:p>
          <a:endParaRPr lang="ru-RU" sz="1100"/>
        </a:p>
      </dgm:t>
    </dgm:pt>
    <dgm:pt modelId="{C5DD8E24-E34F-4D01-B3A3-A2051377E4A7}">
      <dgm:prSet phldrT="[Текст]" custT="1"/>
      <dgm:spPr/>
      <dgm:t>
        <a:bodyPr/>
        <a:lstStyle/>
        <a:p>
          <a:r>
            <a:rPr lang="ru-RU" sz="1600" dirty="0" smtClean="0"/>
            <a:t> Иные непредвиденные события на стройплощадке</a:t>
          </a:r>
          <a:endParaRPr lang="ru-RU" sz="1600" dirty="0"/>
        </a:p>
      </dgm:t>
    </dgm:pt>
    <dgm:pt modelId="{D7F287A2-5CAC-4430-ACC5-BF42356E287B}" type="parTrans" cxnId="{210CB2C5-D61E-47AA-9315-764177DCF80F}">
      <dgm:prSet/>
      <dgm:spPr/>
      <dgm:t>
        <a:bodyPr/>
        <a:lstStyle/>
        <a:p>
          <a:endParaRPr lang="ru-RU" sz="1100"/>
        </a:p>
      </dgm:t>
    </dgm:pt>
    <dgm:pt modelId="{581F6896-2394-4337-AFA8-8D9D3EE3E46B}" type="sibTrans" cxnId="{210CB2C5-D61E-47AA-9315-764177DCF80F}">
      <dgm:prSet/>
      <dgm:spPr/>
      <dgm:t>
        <a:bodyPr/>
        <a:lstStyle/>
        <a:p>
          <a:endParaRPr lang="ru-RU" sz="1100"/>
        </a:p>
      </dgm:t>
    </dgm:pt>
    <dgm:pt modelId="{54310B89-A67E-4ABB-AA63-2A3E3B267841}" type="pres">
      <dgm:prSet presAssocID="{C127E01F-0E40-48A3-96CF-0CB4AE3EE229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C6288A8-19EB-4080-8D4D-77B9C7D44D4A}" type="pres">
      <dgm:prSet presAssocID="{C127E01F-0E40-48A3-96CF-0CB4AE3EE229}" presName="children" presStyleCnt="0"/>
      <dgm:spPr/>
    </dgm:pt>
    <dgm:pt modelId="{FC3C9F47-39A6-4C06-AB7E-0A3F353570C5}" type="pres">
      <dgm:prSet presAssocID="{C127E01F-0E40-48A3-96CF-0CB4AE3EE229}" presName="child1group" presStyleCnt="0"/>
      <dgm:spPr/>
    </dgm:pt>
    <dgm:pt modelId="{E48F6910-23E2-4105-8F3E-C54971AFBE2E}" type="pres">
      <dgm:prSet presAssocID="{C127E01F-0E40-48A3-96CF-0CB4AE3EE229}" presName="child1" presStyleLbl="bgAcc1" presStyleIdx="0" presStyleCnt="4" custLinFactNeighborX="-14478"/>
      <dgm:spPr/>
      <dgm:t>
        <a:bodyPr/>
        <a:lstStyle/>
        <a:p>
          <a:endParaRPr lang="ru-RU"/>
        </a:p>
      </dgm:t>
    </dgm:pt>
    <dgm:pt modelId="{77761142-23F8-44B3-9C35-8E417B284373}" type="pres">
      <dgm:prSet presAssocID="{C127E01F-0E40-48A3-96CF-0CB4AE3EE229}" presName="child1Text" presStyleLbl="bgAcc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A5B91C0-80DE-4E01-A034-93BC87584EA6}" type="pres">
      <dgm:prSet presAssocID="{C127E01F-0E40-48A3-96CF-0CB4AE3EE229}" presName="child2group" presStyleCnt="0"/>
      <dgm:spPr/>
    </dgm:pt>
    <dgm:pt modelId="{F0B572CD-FACD-4646-9E54-1A0AF0D111F6}" type="pres">
      <dgm:prSet presAssocID="{C127E01F-0E40-48A3-96CF-0CB4AE3EE229}" presName="child2" presStyleLbl="bgAcc1" presStyleIdx="1" presStyleCnt="4"/>
      <dgm:spPr/>
      <dgm:t>
        <a:bodyPr/>
        <a:lstStyle/>
        <a:p>
          <a:endParaRPr lang="ru-RU"/>
        </a:p>
      </dgm:t>
    </dgm:pt>
    <dgm:pt modelId="{7C3E536C-1B31-4820-B750-657019066955}" type="pres">
      <dgm:prSet presAssocID="{C127E01F-0E40-48A3-96CF-0CB4AE3EE229}" presName="child2Text" presStyleLbl="bgAcc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AD4D65F-1639-4D80-88E7-AF169CB15831}" type="pres">
      <dgm:prSet presAssocID="{C127E01F-0E40-48A3-96CF-0CB4AE3EE229}" presName="child3group" presStyleCnt="0"/>
      <dgm:spPr/>
    </dgm:pt>
    <dgm:pt modelId="{16C8D4F3-79A8-48B7-9F94-7D12425C792C}" type="pres">
      <dgm:prSet presAssocID="{C127E01F-0E40-48A3-96CF-0CB4AE3EE229}" presName="child3" presStyleLbl="bgAcc1" presStyleIdx="2" presStyleCnt="4" custLinFactNeighborX="1665"/>
      <dgm:spPr/>
      <dgm:t>
        <a:bodyPr/>
        <a:lstStyle/>
        <a:p>
          <a:endParaRPr lang="ru-RU"/>
        </a:p>
      </dgm:t>
    </dgm:pt>
    <dgm:pt modelId="{08A06B5C-81FD-4BDC-A78C-64A0AA50643F}" type="pres">
      <dgm:prSet presAssocID="{C127E01F-0E40-48A3-96CF-0CB4AE3EE229}" presName="child3Text" presStyleLbl="bgAcc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44FB067-9148-41D6-86C0-EDF5E65BA0CC}" type="pres">
      <dgm:prSet presAssocID="{C127E01F-0E40-48A3-96CF-0CB4AE3EE229}" presName="child4group" presStyleCnt="0"/>
      <dgm:spPr/>
    </dgm:pt>
    <dgm:pt modelId="{5CF07BB5-D0BF-4A16-A107-244D2021ACCE}" type="pres">
      <dgm:prSet presAssocID="{C127E01F-0E40-48A3-96CF-0CB4AE3EE229}" presName="child4" presStyleLbl="bgAcc1" presStyleIdx="3" presStyleCnt="4" custLinFactNeighborX="-14478"/>
      <dgm:spPr/>
      <dgm:t>
        <a:bodyPr/>
        <a:lstStyle/>
        <a:p>
          <a:endParaRPr lang="ru-RU"/>
        </a:p>
      </dgm:t>
    </dgm:pt>
    <dgm:pt modelId="{37F9D981-66B1-498F-BC62-00C4BF4D4A98}" type="pres">
      <dgm:prSet presAssocID="{C127E01F-0E40-48A3-96CF-0CB4AE3EE229}" presName="child4Text" presStyleLbl="bgAcc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4A1CA60-0E76-435E-9E7B-74D1B7F6D816}" type="pres">
      <dgm:prSet presAssocID="{C127E01F-0E40-48A3-96CF-0CB4AE3EE229}" presName="childPlaceholder" presStyleCnt="0"/>
      <dgm:spPr/>
    </dgm:pt>
    <dgm:pt modelId="{F4CD22D8-42B6-466F-8182-0536531A1904}" type="pres">
      <dgm:prSet presAssocID="{C127E01F-0E40-48A3-96CF-0CB4AE3EE229}" presName="circle" presStyleCnt="0"/>
      <dgm:spPr/>
    </dgm:pt>
    <dgm:pt modelId="{49394533-35F6-4E32-95C4-0B19F36677FA}" type="pres">
      <dgm:prSet presAssocID="{C127E01F-0E40-48A3-96CF-0CB4AE3EE229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6111309-0B90-4F4D-AA0C-F3A76DEB2AC9}" type="pres">
      <dgm:prSet presAssocID="{C127E01F-0E40-48A3-96CF-0CB4AE3EE229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C9B2BBC-A969-4909-B555-D2228725AA62}" type="pres">
      <dgm:prSet presAssocID="{C127E01F-0E40-48A3-96CF-0CB4AE3EE229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240859F-C0C1-4C2C-B432-5F5539B87FC6}" type="pres">
      <dgm:prSet presAssocID="{C127E01F-0E40-48A3-96CF-0CB4AE3EE229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6AD8D26-A22A-4BFE-82BD-488349E335B4}" type="pres">
      <dgm:prSet presAssocID="{C127E01F-0E40-48A3-96CF-0CB4AE3EE229}" presName="quadrantPlaceholder" presStyleCnt="0"/>
      <dgm:spPr/>
    </dgm:pt>
    <dgm:pt modelId="{1E871C9C-6C8F-4365-B384-06933EA864BD}" type="pres">
      <dgm:prSet presAssocID="{C127E01F-0E40-48A3-96CF-0CB4AE3EE229}" presName="center1" presStyleLbl="fgShp" presStyleIdx="0" presStyleCnt="2"/>
      <dgm:spPr/>
    </dgm:pt>
    <dgm:pt modelId="{1F39017D-3BEE-4CB2-9C14-69634B5B1C9E}" type="pres">
      <dgm:prSet presAssocID="{C127E01F-0E40-48A3-96CF-0CB4AE3EE229}" presName="center2" presStyleLbl="fgShp" presStyleIdx="1" presStyleCnt="2"/>
      <dgm:spPr/>
    </dgm:pt>
  </dgm:ptLst>
  <dgm:cxnLst>
    <dgm:cxn modelId="{78C8E586-418C-4B93-9731-5C7D06211960}" srcId="{8D5A74A5-F275-4384-B170-FC7FFE7D8EFC}" destId="{E8A2D58B-4618-4626-AC00-D92D9D139D6F}" srcOrd="3" destOrd="0" parTransId="{AF707615-093A-4AA6-9D67-B2F8BA8F8A23}" sibTransId="{398681AA-1D25-410F-9332-D8E7B7D48708}"/>
    <dgm:cxn modelId="{00434768-19F5-42AB-BEF7-DBAA954A444A}" srcId="{C127E01F-0E40-48A3-96CF-0CB4AE3EE229}" destId="{F1DB10D3-A0C3-4617-A537-18E3A9BC0A1D}" srcOrd="1" destOrd="0" parTransId="{DEA176FD-3EEA-4476-B530-205346CA48BB}" sibTransId="{3C1B29B1-DBF3-4CB2-B044-7012097AF712}"/>
    <dgm:cxn modelId="{A52DFBB2-FD9B-4CA9-9CBF-F82EE66F6BC7}" type="presOf" srcId="{CA24D8FE-15D5-4DCF-A286-90F9B46B8143}" destId="{16C8D4F3-79A8-48B7-9F94-7D12425C792C}" srcOrd="0" destOrd="0" presId="urn:microsoft.com/office/officeart/2005/8/layout/cycle4"/>
    <dgm:cxn modelId="{1BD3D28F-339C-47ED-8F1E-86C062D311A3}" type="presOf" srcId="{A14D9D7C-59B4-44F3-BE69-BDAD51D72E89}" destId="{7C3E536C-1B31-4820-B750-657019066955}" srcOrd="1" destOrd="0" presId="urn:microsoft.com/office/officeart/2005/8/layout/cycle4"/>
    <dgm:cxn modelId="{F99AC087-CD2C-418A-AA31-51B60C971825}" type="presOf" srcId="{E8A2D58B-4618-4626-AC00-D92D9D139D6F}" destId="{E48F6910-23E2-4105-8F3E-C54971AFBE2E}" srcOrd="0" destOrd="3" presId="urn:microsoft.com/office/officeart/2005/8/layout/cycle4"/>
    <dgm:cxn modelId="{4CF3BCAB-605C-4FB2-B7AE-A898D7C6080D}" srcId="{F1DB10D3-A0C3-4617-A537-18E3A9BC0A1D}" destId="{A14D9D7C-59B4-44F3-BE69-BDAD51D72E89}" srcOrd="0" destOrd="0" parTransId="{6048570D-E5CB-4CA7-964E-724064A4C912}" sibTransId="{9E62DEAF-A0AE-4BB0-8B48-2A9297F9A036}"/>
    <dgm:cxn modelId="{5D1FB4E4-9925-426E-B20C-FC4D70204D38}" type="presOf" srcId="{063AEDCA-693B-40A7-AFCF-0CB756C62BF5}" destId="{37F9D981-66B1-498F-BC62-00C4BF4D4A98}" srcOrd="1" destOrd="0" presId="urn:microsoft.com/office/officeart/2005/8/layout/cycle4"/>
    <dgm:cxn modelId="{91FB142B-FE56-4920-A585-F8DD795FE2C7}" type="presOf" srcId="{C5DD8E24-E34F-4D01-B3A3-A2051377E4A7}" destId="{77761142-23F8-44B3-9C35-8E417B284373}" srcOrd="1" destOrd="2" presId="urn:microsoft.com/office/officeart/2005/8/layout/cycle4"/>
    <dgm:cxn modelId="{C94C428C-19B4-4150-85BB-571F62C35409}" type="presOf" srcId="{CA24D8FE-15D5-4DCF-A286-90F9B46B8143}" destId="{08A06B5C-81FD-4BDC-A78C-64A0AA50643F}" srcOrd="1" destOrd="0" presId="urn:microsoft.com/office/officeart/2005/8/layout/cycle4"/>
    <dgm:cxn modelId="{A0959A3D-E356-4A80-B414-7116F2874C98}" type="presOf" srcId="{E61393C5-DEA0-4F16-80EA-E381CA51F170}" destId="{6240859F-C0C1-4C2C-B432-5F5539B87FC6}" srcOrd="0" destOrd="0" presId="urn:microsoft.com/office/officeart/2005/8/layout/cycle4"/>
    <dgm:cxn modelId="{7E829916-61BA-4709-896B-93B286A0BC2F}" type="presOf" srcId="{C127E01F-0E40-48A3-96CF-0CB4AE3EE229}" destId="{54310B89-A67E-4ABB-AA63-2A3E3B267841}" srcOrd="0" destOrd="0" presId="urn:microsoft.com/office/officeart/2005/8/layout/cycle4"/>
    <dgm:cxn modelId="{B76EF539-B8A9-4C7E-A612-E8EDB9925AC9}" srcId="{8D5A74A5-F275-4384-B170-FC7FFE7D8EFC}" destId="{8C4F169B-2582-48A3-A532-2DB66E0C04C8}" srcOrd="1" destOrd="0" parTransId="{AD4451F7-E397-48B9-A012-301BC4D608A7}" sibTransId="{43138BC6-076A-4841-917B-837642CA57BA}"/>
    <dgm:cxn modelId="{D12FD30C-A1D1-4F4A-A60E-CEC4D7A4AB81}" type="presOf" srcId="{8D5A74A5-F275-4384-B170-FC7FFE7D8EFC}" destId="{49394533-35F6-4E32-95C4-0B19F36677FA}" srcOrd="0" destOrd="0" presId="urn:microsoft.com/office/officeart/2005/8/layout/cycle4"/>
    <dgm:cxn modelId="{D693BB90-F1EC-4EED-8242-A93B5DA1D508}" type="presOf" srcId="{A14D9D7C-59B4-44F3-BE69-BDAD51D72E89}" destId="{F0B572CD-FACD-4646-9E54-1A0AF0D111F6}" srcOrd="0" destOrd="0" presId="urn:microsoft.com/office/officeart/2005/8/layout/cycle4"/>
    <dgm:cxn modelId="{94A89BB7-9370-48E7-BB3D-838C9362977F}" type="presOf" srcId="{8C4F169B-2582-48A3-A532-2DB66E0C04C8}" destId="{E48F6910-23E2-4105-8F3E-C54971AFBE2E}" srcOrd="0" destOrd="1" presId="urn:microsoft.com/office/officeart/2005/8/layout/cycle4"/>
    <dgm:cxn modelId="{D11BD720-EF6B-4AAB-912B-9ADCB107E807}" type="presOf" srcId="{5BC99C4D-7772-43FE-8541-1B9C8F57429F}" destId="{77761142-23F8-44B3-9C35-8E417B284373}" srcOrd="1" destOrd="0" presId="urn:microsoft.com/office/officeart/2005/8/layout/cycle4"/>
    <dgm:cxn modelId="{02141FBB-0E15-4F88-B9AC-042BD45FBB4F}" srcId="{C5DBCD95-3482-400F-A62D-79658FBA8F74}" destId="{CA24D8FE-15D5-4DCF-A286-90F9B46B8143}" srcOrd="0" destOrd="0" parTransId="{A26EE4E9-195D-467C-8A99-96E06EC0B018}" sibTransId="{D89E45B2-6F92-4E28-80CA-B3812BCA54BD}"/>
    <dgm:cxn modelId="{6F4F0164-7B7B-4E90-BE6E-FE849532DA3B}" srcId="{C127E01F-0E40-48A3-96CF-0CB4AE3EE229}" destId="{C5DBCD95-3482-400F-A62D-79658FBA8F74}" srcOrd="2" destOrd="0" parTransId="{E1593473-3E13-4BE1-AEAD-2E0A51612245}" sibTransId="{D04FA99A-6F9B-41A2-8C41-D00EBDCFBCC6}"/>
    <dgm:cxn modelId="{0A35FC34-6C7F-4EBC-AA61-FA3881307686}" type="presOf" srcId="{C5DBCD95-3482-400F-A62D-79658FBA8F74}" destId="{5C9B2BBC-A969-4909-B555-D2228725AA62}" srcOrd="0" destOrd="0" presId="urn:microsoft.com/office/officeart/2005/8/layout/cycle4"/>
    <dgm:cxn modelId="{9F8C1FD4-F6E6-4F96-901D-47B195C9E869}" type="presOf" srcId="{C5DD8E24-E34F-4D01-B3A3-A2051377E4A7}" destId="{E48F6910-23E2-4105-8F3E-C54971AFBE2E}" srcOrd="0" destOrd="2" presId="urn:microsoft.com/office/officeart/2005/8/layout/cycle4"/>
    <dgm:cxn modelId="{F76AC1EB-6368-4975-B2F3-7479A8243279}" type="presOf" srcId="{E8A2D58B-4618-4626-AC00-D92D9D139D6F}" destId="{77761142-23F8-44B3-9C35-8E417B284373}" srcOrd="1" destOrd="3" presId="urn:microsoft.com/office/officeart/2005/8/layout/cycle4"/>
    <dgm:cxn modelId="{00FF92C1-B135-438C-9B4C-37F998E2497D}" type="presOf" srcId="{8C4F169B-2582-48A3-A532-2DB66E0C04C8}" destId="{77761142-23F8-44B3-9C35-8E417B284373}" srcOrd="1" destOrd="1" presId="urn:microsoft.com/office/officeart/2005/8/layout/cycle4"/>
    <dgm:cxn modelId="{210CB2C5-D61E-47AA-9315-764177DCF80F}" srcId="{8D5A74A5-F275-4384-B170-FC7FFE7D8EFC}" destId="{C5DD8E24-E34F-4D01-B3A3-A2051377E4A7}" srcOrd="2" destOrd="0" parTransId="{D7F287A2-5CAC-4430-ACC5-BF42356E287B}" sibTransId="{581F6896-2394-4337-AFA8-8D9D3EE3E46B}"/>
    <dgm:cxn modelId="{2F857BC7-651A-48CB-9F21-47BF1E7F2B50}" srcId="{C127E01F-0E40-48A3-96CF-0CB4AE3EE229}" destId="{E61393C5-DEA0-4F16-80EA-E381CA51F170}" srcOrd="3" destOrd="0" parTransId="{2B8651CF-9822-456B-A54E-A94D6D25AAD6}" sibTransId="{34B67329-EBF7-40F4-8E86-B085D859E93F}"/>
    <dgm:cxn modelId="{6D934A16-1423-4888-A851-9DC30E6A7A44}" srcId="{C127E01F-0E40-48A3-96CF-0CB4AE3EE229}" destId="{8D5A74A5-F275-4384-B170-FC7FFE7D8EFC}" srcOrd="0" destOrd="0" parTransId="{FDD785AD-DD69-4891-9BDF-525CAA9D9E04}" sibTransId="{2E3C8E58-FC69-4196-B785-D2FAD86A1FD3}"/>
    <dgm:cxn modelId="{64FF1CF3-ED3F-4B49-8DB1-278B2BFE518D}" type="presOf" srcId="{063AEDCA-693B-40A7-AFCF-0CB756C62BF5}" destId="{5CF07BB5-D0BF-4A16-A107-244D2021ACCE}" srcOrd="0" destOrd="0" presId="urn:microsoft.com/office/officeart/2005/8/layout/cycle4"/>
    <dgm:cxn modelId="{C584054F-7B60-4DE4-BCFD-01BA87BA1B52}" type="presOf" srcId="{F1DB10D3-A0C3-4617-A537-18E3A9BC0A1D}" destId="{D6111309-0B90-4F4D-AA0C-F3A76DEB2AC9}" srcOrd="0" destOrd="0" presId="urn:microsoft.com/office/officeart/2005/8/layout/cycle4"/>
    <dgm:cxn modelId="{6950D2B3-EA11-44E3-B6CF-6C924D7B51BB}" srcId="{E61393C5-DEA0-4F16-80EA-E381CA51F170}" destId="{063AEDCA-693B-40A7-AFCF-0CB756C62BF5}" srcOrd="0" destOrd="0" parTransId="{65A166BD-1FA2-4B09-9DE8-9A475329A778}" sibTransId="{E7742A9B-60D8-446B-930A-C9C9CB2EA2ED}"/>
    <dgm:cxn modelId="{FE8852CA-45EA-4E03-938F-1DDF076D70E0}" type="presOf" srcId="{5BC99C4D-7772-43FE-8541-1B9C8F57429F}" destId="{E48F6910-23E2-4105-8F3E-C54971AFBE2E}" srcOrd="0" destOrd="0" presId="urn:microsoft.com/office/officeart/2005/8/layout/cycle4"/>
    <dgm:cxn modelId="{60E7B1E6-B3F2-45AA-B07C-700257C8CFA4}" srcId="{8D5A74A5-F275-4384-B170-FC7FFE7D8EFC}" destId="{5BC99C4D-7772-43FE-8541-1B9C8F57429F}" srcOrd="0" destOrd="0" parTransId="{5ED20281-57BA-4A7F-9241-099674077EE9}" sibTransId="{9F1AD55E-51CC-4080-A6DB-13F056492721}"/>
    <dgm:cxn modelId="{03A74209-133B-4A81-8ADC-70745D3A796D}" type="presParOf" srcId="{54310B89-A67E-4ABB-AA63-2A3E3B267841}" destId="{DC6288A8-19EB-4080-8D4D-77B9C7D44D4A}" srcOrd="0" destOrd="0" presId="urn:microsoft.com/office/officeart/2005/8/layout/cycle4"/>
    <dgm:cxn modelId="{16C0679D-DC5D-454C-9D01-FEF05C5E30A4}" type="presParOf" srcId="{DC6288A8-19EB-4080-8D4D-77B9C7D44D4A}" destId="{FC3C9F47-39A6-4C06-AB7E-0A3F353570C5}" srcOrd="0" destOrd="0" presId="urn:microsoft.com/office/officeart/2005/8/layout/cycle4"/>
    <dgm:cxn modelId="{9BA58365-D482-46BC-BAFB-E83DCA0F1543}" type="presParOf" srcId="{FC3C9F47-39A6-4C06-AB7E-0A3F353570C5}" destId="{E48F6910-23E2-4105-8F3E-C54971AFBE2E}" srcOrd="0" destOrd="0" presId="urn:microsoft.com/office/officeart/2005/8/layout/cycle4"/>
    <dgm:cxn modelId="{50134B3F-5511-42FA-A9F0-5A699839102B}" type="presParOf" srcId="{FC3C9F47-39A6-4C06-AB7E-0A3F353570C5}" destId="{77761142-23F8-44B3-9C35-8E417B284373}" srcOrd="1" destOrd="0" presId="urn:microsoft.com/office/officeart/2005/8/layout/cycle4"/>
    <dgm:cxn modelId="{E7184CDA-F4AF-4B54-8445-4A5CC8481284}" type="presParOf" srcId="{DC6288A8-19EB-4080-8D4D-77B9C7D44D4A}" destId="{5A5B91C0-80DE-4E01-A034-93BC87584EA6}" srcOrd="1" destOrd="0" presId="urn:microsoft.com/office/officeart/2005/8/layout/cycle4"/>
    <dgm:cxn modelId="{DA5C49C3-EC3E-4184-83E7-09507F32F07D}" type="presParOf" srcId="{5A5B91C0-80DE-4E01-A034-93BC87584EA6}" destId="{F0B572CD-FACD-4646-9E54-1A0AF0D111F6}" srcOrd="0" destOrd="0" presId="urn:microsoft.com/office/officeart/2005/8/layout/cycle4"/>
    <dgm:cxn modelId="{542A6CDC-5A82-4E3C-84F0-BC5374E08AF9}" type="presParOf" srcId="{5A5B91C0-80DE-4E01-A034-93BC87584EA6}" destId="{7C3E536C-1B31-4820-B750-657019066955}" srcOrd="1" destOrd="0" presId="urn:microsoft.com/office/officeart/2005/8/layout/cycle4"/>
    <dgm:cxn modelId="{A31E9C74-94CA-448C-A322-FB1764D50320}" type="presParOf" srcId="{DC6288A8-19EB-4080-8D4D-77B9C7D44D4A}" destId="{FAD4D65F-1639-4D80-88E7-AF169CB15831}" srcOrd="2" destOrd="0" presId="urn:microsoft.com/office/officeart/2005/8/layout/cycle4"/>
    <dgm:cxn modelId="{669EF7C0-02A6-4604-B1AB-8497884336B3}" type="presParOf" srcId="{FAD4D65F-1639-4D80-88E7-AF169CB15831}" destId="{16C8D4F3-79A8-48B7-9F94-7D12425C792C}" srcOrd="0" destOrd="0" presId="urn:microsoft.com/office/officeart/2005/8/layout/cycle4"/>
    <dgm:cxn modelId="{833F6986-E2CA-4E25-8FE5-1E0E7F73E6CB}" type="presParOf" srcId="{FAD4D65F-1639-4D80-88E7-AF169CB15831}" destId="{08A06B5C-81FD-4BDC-A78C-64A0AA50643F}" srcOrd="1" destOrd="0" presId="urn:microsoft.com/office/officeart/2005/8/layout/cycle4"/>
    <dgm:cxn modelId="{E335B89C-BF36-4436-B1EB-BF0C4BD5D7DA}" type="presParOf" srcId="{DC6288A8-19EB-4080-8D4D-77B9C7D44D4A}" destId="{A44FB067-9148-41D6-86C0-EDF5E65BA0CC}" srcOrd="3" destOrd="0" presId="urn:microsoft.com/office/officeart/2005/8/layout/cycle4"/>
    <dgm:cxn modelId="{36C7FD20-3719-4921-ACA3-1313773FAB0F}" type="presParOf" srcId="{A44FB067-9148-41D6-86C0-EDF5E65BA0CC}" destId="{5CF07BB5-D0BF-4A16-A107-244D2021ACCE}" srcOrd="0" destOrd="0" presId="urn:microsoft.com/office/officeart/2005/8/layout/cycle4"/>
    <dgm:cxn modelId="{F275D5F4-A836-43A1-A0FA-314F9B8B2638}" type="presParOf" srcId="{A44FB067-9148-41D6-86C0-EDF5E65BA0CC}" destId="{37F9D981-66B1-498F-BC62-00C4BF4D4A98}" srcOrd="1" destOrd="0" presId="urn:microsoft.com/office/officeart/2005/8/layout/cycle4"/>
    <dgm:cxn modelId="{C6EEBE1F-F453-40D7-8CAE-AFE71DFCC358}" type="presParOf" srcId="{DC6288A8-19EB-4080-8D4D-77B9C7D44D4A}" destId="{C4A1CA60-0E76-435E-9E7B-74D1B7F6D816}" srcOrd="4" destOrd="0" presId="urn:microsoft.com/office/officeart/2005/8/layout/cycle4"/>
    <dgm:cxn modelId="{A5DC6762-A995-445E-A416-688B1DC74DB3}" type="presParOf" srcId="{54310B89-A67E-4ABB-AA63-2A3E3B267841}" destId="{F4CD22D8-42B6-466F-8182-0536531A1904}" srcOrd="1" destOrd="0" presId="urn:microsoft.com/office/officeart/2005/8/layout/cycle4"/>
    <dgm:cxn modelId="{755C9B1A-A573-4E8F-A492-F957D260AA38}" type="presParOf" srcId="{F4CD22D8-42B6-466F-8182-0536531A1904}" destId="{49394533-35F6-4E32-95C4-0B19F36677FA}" srcOrd="0" destOrd="0" presId="urn:microsoft.com/office/officeart/2005/8/layout/cycle4"/>
    <dgm:cxn modelId="{10720B9B-8E2F-448F-8231-26B320AD1B12}" type="presParOf" srcId="{F4CD22D8-42B6-466F-8182-0536531A1904}" destId="{D6111309-0B90-4F4D-AA0C-F3A76DEB2AC9}" srcOrd="1" destOrd="0" presId="urn:microsoft.com/office/officeart/2005/8/layout/cycle4"/>
    <dgm:cxn modelId="{5E48E84F-CA0E-482A-A901-7B6B433E10E5}" type="presParOf" srcId="{F4CD22D8-42B6-466F-8182-0536531A1904}" destId="{5C9B2BBC-A969-4909-B555-D2228725AA62}" srcOrd="2" destOrd="0" presId="urn:microsoft.com/office/officeart/2005/8/layout/cycle4"/>
    <dgm:cxn modelId="{EA4A0E6F-FE6B-426B-A1F2-01BCF430C4AD}" type="presParOf" srcId="{F4CD22D8-42B6-466F-8182-0536531A1904}" destId="{6240859F-C0C1-4C2C-B432-5F5539B87FC6}" srcOrd="3" destOrd="0" presId="urn:microsoft.com/office/officeart/2005/8/layout/cycle4"/>
    <dgm:cxn modelId="{A60FF75D-78A5-40F3-A487-8F0D82049396}" type="presParOf" srcId="{F4CD22D8-42B6-466F-8182-0536531A1904}" destId="{66AD8D26-A22A-4BFE-82BD-488349E335B4}" srcOrd="4" destOrd="0" presId="urn:microsoft.com/office/officeart/2005/8/layout/cycle4"/>
    <dgm:cxn modelId="{AD0AC8E0-CAD2-435F-8B80-E1AD0BD787B2}" type="presParOf" srcId="{54310B89-A67E-4ABB-AA63-2A3E3B267841}" destId="{1E871C9C-6C8F-4365-B384-06933EA864BD}" srcOrd="2" destOrd="0" presId="urn:microsoft.com/office/officeart/2005/8/layout/cycle4"/>
    <dgm:cxn modelId="{46A12C78-5C9D-4365-B679-3113C3981FED}" type="presParOf" srcId="{54310B89-A67E-4ABB-AA63-2A3E3B267841}" destId="{1F39017D-3BEE-4CB2-9C14-69634B5B1C9E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6">
  <dgm:title val=""/>
  <dgm:desc val=""/>
  <dgm:catLst>
    <dgm:cat type="3D" pri="11600"/>
  </dgm:catLst>
  <dgm:scene3d>
    <a:camera prst="perspectiveRelaxedModerately" zoom="92000"/>
    <a:lightRig rig="balanced" dir="t">
      <a:rot lat="0" lon="0" rev="12700000"/>
    </a:lightRig>
  </dgm:scene3d>
  <dgm:styleLbl name="node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5400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54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25400" prstMaterial="plastic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75000" prstMaterial="plastic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-25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2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3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parChTrans1D4">
    <dgm:scene3d>
      <a:camera prst="orthographicFront"/>
      <a:lightRig rig="threePt" dir="t"/>
    </dgm:scene3d>
    <dgm:sp3d z="-25400" prstMaterial="plastic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fgAcc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50080" prstMaterial="plastic">
      <a:bevelT w="25400" h="25400"/>
      <a:bevelB w="254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52400" prstMaterial="plastic">
      <a:bevelT w="25400" h="25400"/>
      <a:bevelB w="25400" h="25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 z="-10400" extrusionH="12700" prstMaterial="plastic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50080" prstMaterial="plastic">
      <a:bevelT w="50800" h="50800"/>
      <a:bevelB w="50800" h="508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79E0B129-0330-4190-8389-38D536370A98}" type="datetimeFigureOut">
              <a:rPr lang="ru-RU"/>
              <a:pPr>
                <a:defRPr/>
              </a:pPr>
              <a:t>25.03.201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9504AFAC-4B6A-471C-A2A1-C35877889E7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>
              <a:defRPr sz="13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3E0D2347-6911-43B5-BBAC-824371B5C6A5}" type="datetimeFigureOut">
              <a:rPr lang="ru-RU"/>
              <a:pPr>
                <a:defRPr/>
              </a:pPr>
              <a:t>25.03.2011</a:t>
            </a:fld>
            <a:endParaRPr lang="ru-RU"/>
          </a:p>
        </p:txBody>
      </p:sp>
      <p:sp>
        <p:nvSpPr>
          <p:cNvPr id="1741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8350"/>
            <a:ext cx="5114925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1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13" y="4860925"/>
            <a:ext cx="5680075" cy="4605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1741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>
              <a:defRPr sz="13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741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3E59752B-26FB-482C-82B8-4740883AA7C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0482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/>
          </a:p>
        </p:txBody>
      </p:sp>
      <p:sp>
        <p:nvSpPr>
          <p:cNvPr id="20483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9186F18-8032-4E11-9D5A-9058026402A4}" type="slidenum">
              <a:rPr lang="ru-RU" smtClean="0">
                <a:cs typeface="Arial" charset="0"/>
              </a:rPr>
              <a:pPr/>
              <a:t>1</a:t>
            </a:fld>
            <a:endParaRPr lang="ru-RU" smtClean="0">
              <a:cs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2530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 smtClean="0"/>
          </a:p>
        </p:txBody>
      </p:sp>
      <p:sp>
        <p:nvSpPr>
          <p:cNvPr id="22531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9BF0180-2163-4688-A685-D1CE471B11B0}" type="slidenum">
              <a:rPr lang="de-DE" smtClean="0">
                <a:cs typeface="Arial" charset="0"/>
              </a:rPr>
              <a:pPr/>
              <a:t>2</a:t>
            </a:fld>
            <a:endParaRPr lang="de-DE" smtClean="0">
              <a:cs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logo"/>
          <p:cNvPicPr>
            <a:picLocks noChangeAspect="1" noChangeArrowheads="1"/>
          </p:cNvPicPr>
          <p:nvPr userDrawn="1"/>
        </p:nvPicPr>
        <p:blipFill>
          <a:blip r:embed="rId2"/>
          <a:srcRect l="-2787" t="-7384" r="-3185" b="-9769"/>
          <a:stretch>
            <a:fillRect/>
          </a:stretch>
        </p:blipFill>
        <p:spPr bwMode="auto">
          <a:xfrm>
            <a:off x="6357950" y="235887"/>
            <a:ext cx="2584021" cy="549907"/>
          </a:xfrm>
          <a:prstGeom prst="round2DiagRect">
            <a:avLst>
              <a:gd name="adj1" fmla="val 21511"/>
              <a:gd name="adj2" fmla="val 0"/>
            </a:avLst>
          </a:prstGeom>
          <a:solidFill>
            <a:srgbClr val="008000"/>
          </a:solidFill>
          <a:ln>
            <a:noFill/>
          </a:ln>
          <a:effectLst>
            <a:glow rad="63500">
              <a:schemeClr val="accent1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  <a:reflection blurRad="6350" stA="50000" endA="300" endPos="55500" dist="50800" dir="5400000" sy="-100000" algn="bl" rotWithShape="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322CDF-64B7-4F83-8906-09E6E1B32335}" type="datetimeFigureOut">
              <a:rPr lang="ru-RU"/>
              <a:pPr>
                <a:defRPr/>
              </a:pPr>
              <a:t>25.03.201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2D3E71-2A16-4A08-B483-B0260AEF3CE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5CE32C-59CD-4FF4-8E11-30EE38433937}" type="datetimeFigureOut">
              <a:rPr lang="ru-RU"/>
              <a:pPr>
                <a:defRPr/>
              </a:pPr>
              <a:t>25.03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4A7C9C-A410-46C6-ADA5-A6FB51EEF99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B7F89F-20A8-4CDD-AD5C-D67AFC42C13E}" type="datetimeFigureOut">
              <a:rPr lang="ru-RU"/>
              <a:pPr>
                <a:defRPr/>
              </a:pPr>
              <a:t>25.03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4E2F39-75D5-4A99-B67E-8093A4A26DE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4500" y="554038"/>
            <a:ext cx="6248400" cy="685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41325" y="1371600"/>
            <a:ext cx="8270875" cy="4800600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F835A0-CFB3-4EEC-A33B-1FFA39843141}" type="datetime1">
              <a:rPr lang="ru-RU"/>
              <a:pPr>
                <a:defRPr/>
              </a:pPr>
              <a:t>25.03.2011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spcBef>
                <a:spcPct val="0"/>
              </a:spcBef>
              <a:defRPr/>
            </a:lvl1pPr>
          </a:lstStyle>
          <a:p>
            <a:pPr>
              <a:defRPr/>
            </a:pPr>
            <a:fld id="{6B59AE1F-F389-4661-A703-EE7D3E57B943}" type="slidenum">
              <a:rPr lang="de-DE"/>
              <a:pPr>
                <a:defRPr/>
              </a:pPr>
              <a:t>‹#›</a:t>
            </a:fld>
            <a:endParaRPr lang="de-DE"/>
          </a:p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F4EB37-4F25-4546-B5ED-EAED32695BDD}" type="datetimeFigureOut">
              <a:rPr lang="ru-RU"/>
              <a:pPr>
                <a:defRPr/>
              </a:pPr>
              <a:t>25.03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286125" y="6000750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6B8C86-DF0D-48DD-A60F-6AB5DDB0FDC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517A23-5820-4FCA-8305-7A883CA4C718}" type="datetimeFigureOut">
              <a:rPr lang="ru-RU"/>
              <a:pPr>
                <a:defRPr/>
              </a:pPr>
              <a:t>25.03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36C554-68DF-485C-A3F5-63163B136E8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3BCA73-D2CD-4A34-BEEF-AD2AD1C84BFF}" type="datetimeFigureOut">
              <a:rPr lang="ru-RU"/>
              <a:pPr>
                <a:defRPr/>
              </a:pPr>
              <a:t>25.03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373ADA-1B98-485B-BE85-E4EB1D3C579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192340-0CBB-44C4-A53A-75A37ADD3E85}" type="datetimeFigureOut">
              <a:rPr lang="ru-RU"/>
              <a:pPr>
                <a:defRPr/>
              </a:pPr>
              <a:t>25.03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B80A9A-DBDF-48BD-843C-949DD2B5405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EE6265-BFD2-4486-9B71-012342ED2F0E}" type="datetimeFigureOut">
              <a:rPr lang="ru-RU"/>
              <a:pPr>
                <a:defRPr/>
              </a:pPr>
              <a:t>25.03.201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E42A78-27D2-4223-A612-0A0F1EA53E5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8AC015-ABC3-4C03-95A2-80BE3C1764ED}" type="datetimeFigureOut">
              <a:rPr lang="ru-RU"/>
              <a:pPr>
                <a:defRPr/>
              </a:pPr>
              <a:t>25.03.201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82AA8F-682F-49C3-B969-8D1A6400C3D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8B82EE-53DB-4480-973D-84F8D35400AF}" type="datetimeFigureOut">
              <a:rPr lang="ru-RU"/>
              <a:pPr>
                <a:defRPr/>
              </a:pPr>
              <a:t>25.03.201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05A32A-A691-4CC0-9249-3B1DECF9CB4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63C271-6900-4921-87A9-5A12B5C20857}" type="datetimeFigureOut">
              <a:rPr lang="ru-RU"/>
              <a:pPr>
                <a:defRPr/>
              </a:pPr>
              <a:t>25.03.201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54D20E-C00B-4124-A047-901F6333084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85060D-7A85-498C-B896-B159B7004C9A}" type="datetimeFigureOut">
              <a:rPr lang="ru-RU"/>
              <a:pPr>
                <a:defRPr/>
              </a:pPr>
              <a:t>25.03.201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49E59D-2EF0-4318-BF1B-85952889ADC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B01D35-BB42-4D4E-BADE-2A86DCFBB8FF}" type="datetimeFigureOut">
              <a:rPr lang="ru-RU"/>
              <a:pPr>
                <a:defRPr/>
              </a:pPr>
              <a:t>25.03.201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372845-8AA8-43D6-A746-4AA49B249B8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35462477-B967-4C2E-ABC8-90E1AD6F5BEE}" type="datetimeFigureOut">
              <a:rPr lang="ru-RU"/>
              <a:pPr>
                <a:defRPr/>
              </a:pPr>
              <a:t>25.03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004B46E-1F37-479B-944F-7565DEA2188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pic>
        <p:nvPicPr>
          <p:cNvPr id="7" name="Picture 7" descr="logo"/>
          <p:cNvPicPr>
            <a:picLocks noChangeAspect="1" noChangeArrowheads="1"/>
          </p:cNvPicPr>
          <p:nvPr userDrawn="1"/>
        </p:nvPicPr>
        <p:blipFill>
          <a:blip r:embed="rId14"/>
          <a:srcRect l="-2787" t="-7384" r="-3185" b="-9769"/>
          <a:stretch>
            <a:fillRect/>
          </a:stretch>
        </p:blipFill>
        <p:spPr bwMode="auto">
          <a:xfrm>
            <a:off x="6357950" y="235887"/>
            <a:ext cx="2584021" cy="549907"/>
          </a:xfrm>
          <a:prstGeom prst="round2DiagRect">
            <a:avLst>
              <a:gd name="adj1" fmla="val 21511"/>
              <a:gd name="adj2" fmla="val 0"/>
            </a:avLst>
          </a:prstGeom>
          <a:solidFill>
            <a:srgbClr val="008000"/>
          </a:solidFill>
          <a:ln>
            <a:noFill/>
          </a:ln>
          <a:effectLst>
            <a:glow rad="63500">
              <a:schemeClr val="accent1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  <a:reflection blurRad="6350" stA="50000" endA="300" endPos="55500" dist="50800" dir="5400000" sy="-100000" algn="bl" rotWithShape="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9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Заголовок 1"/>
          <p:cNvSpPr>
            <a:spLocks noGrp="1"/>
          </p:cNvSpPr>
          <p:nvPr>
            <p:ph type="title"/>
          </p:nvPr>
        </p:nvSpPr>
        <p:spPr bwMode="auto">
          <a:xfrm>
            <a:off x="571500" y="142875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4339" name="Текст 2"/>
          <p:cNvSpPr>
            <a:spLocks noGrp="1"/>
          </p:cNvSpPr>
          <p:nvPr>
            <p:ph type="body" idx="1"/>
          </p:nvPr>
        </p:nvSpPr>
        <p:spPr bwMode="auto">
          <a:xfrm>
            <a:off x="642938" y="1643063"/>
            <a:ext cx="82296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AD07C665-A005-41A3-98F6-00DCCF1AF279}" type="datetimeFigureOut">
              <a:rPr lang="ru-RU"/>
              <a:pPr>
                <a:defRPr/>
              </a:pPr>
              <a:t>25.03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F63D6BA2-047A-41B1-A606-36B804A5EE9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27" r:id="rId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hyperlink" Target="http://www.rkgarant.ru/" TargetMode="Externa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slideLayout" Target="../slideLayouts/slideLayout12.xml"/><Relationship Id="rId7" Type="http://schemas.openxmlformats.org/officeDocument/2006/relationships/diagramColors" Target="../diagrams/colors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hyperlink" Target="http://www.mir96.ru/var/UserStorage/two-gift-boxes8.jpg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13" Type="http://schemas.microsoft.com/office/2007/relationships/diagramDrawing" Target="../diagrams/drawing3.xml"/><Relationship Id="rId3" Type="http://schemas.openxmlformats.org/officeDocument/2006/relationships/slideLayout" Target="../slideLayouts/slideLayout12.xml"/><Relationship Id="rId7" Type="http://schemas.openxmlformats.org/officeDocument/2006/relationships/diagramColors" Target="../diagrams/colors2.xml"/><Relationship Id="rId12" Type="http://schemas.openxmlformats.org/officeDocument/2006/relationships/diagramColors" Target="../diagrams/colors3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diagramQuickStyle" Target="../diagrams/quickStyle2.xml"/><Relationship Id="rId11" Type="http://schemas.openxmlformats.org/officeDocument/2006/relationships/diagramQuickStyle" Target="../diagrams/quickStyle3.xml"/><Relationship Id="rId5" Type="http://schemas.openxmlformats.org/officeDocument/2006/relationships/diagramLayout" Target="../diagrams/layout2.xml"/><Relationship Id="rId10" Type="http://schemas.openxmlformats.org/officeDocument/2006/relationships/diagramLayout" Target="../diagrams/layout3.xml"/><Relationship Id="rId4" Type="http://schemas.openxmlformats.org/officeDocument/2006/relationships/diagramData" Target="../diagrams/data2.xml"/><Relationship Id="rId9" Type="http://schemas.openxmlformats.org/officeDocument/2006/relationships/diagramData" Target="../diagrams/data3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slideLayout" Target="../slideLayouts/slideLayout12.xml"/><Relationship Id="rId7" Type="http://schemas.openxmlformats.org/officeDocument/2006/relationships/diagramColors" Target="../diagrams/colors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3" Type="http://schemas.openxmlformats.org/officeDocument/2006/relationships/slideLayout" Target="../slideLayouts/slideLayout12.xml"/><Relationship Id="rId7" Type="http://schemas.openxmlformats.org/officeDocument/2006/relationships/diagramColors" Target="../diagrams/colors5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diagramQuickStyle" Target="../diagrams/quickStyle5.xml"/><Relationship Id="rId5" Type="http://schemas.openxmlformats.org/officeDocument/2006/relationships/diagramLayout" Target="../diagrams/layout5.xml"/><Relationship Id="rId4" Type="http://schemas.openxmlformats.org/officeDocument/2006/relationships/diagramData" Target="../diagrams/data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2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6000750" y="71438"/>
            <a:ext cx="3071813" cy="142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6" name="Picture 11"/>
          <p:cNvPicPr>
            <a:picLocks noChangeAspect="1" noChangeArrowheads="1"/>
          </p:cNvPicPr>
          <p:nvPr/>
        </p:nvPicPr>
        <p:blipFill>
          <a:blip r:embed="rId3"/>
          <a:srcRect t="4411" b="41937"/>
          <a:stretch>
            <a:fillRect/>
          </a:stretch>
        </p:blipFill>
        <p:spPr bwMode="auto">
          <a:xfrm>
            <a:off x="642910" y="428214"/>
            <a:ext cx="7858180" cy="52153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sp>
        <p:nvSpPr>
          <p:cNvPr id="10" name="Rectangle 2"/>
          <p:cNvSpPr txBox="1">
            <a:spLocks noChangeArrowheads="1"/>
          </p:cNvSpPr>
          <p:nvPr/>
        </p:nvSpPr>
        <p:spPr bwMode="auto">
          <a:xfrm>
            <a:off x="285750" y="5786438"/>
            <a:ext cx="8358188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defRPr/>
            </a:pPr>
            <a:endParaRPr lang="ru-RU" sz="28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" name="Rectangle 5"/>
          <p:cNvSpPr>
            <a:spLocks noChangeArrowheads="1"/>
          </p:cNvSpPr>
          <p:nvPr/>
        </p:nvSpPr>
        <p:spPr bwMode="gray">
          <a:xfrm>
            <a:off x="642910" y="4589288"/>
            <a:ext cx="7858180" cy="1340042"/>
          </a:xfrm>
          <a:prstGeom prst="rect">
            <a:avLst/>
          </a:prstGeom>
          <a:solidFill>
            <a:srgbClr val="008000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l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90000" tIns="46800" rIns="90000" bIns="46800"/>
          <a:lstStyle/>
          <a:p>
            <a:pPr eaLnBrk="0" hangingPunct="0">
              <a:defRPr/>
            </a:pPr>
            <a:r>
              <a:rPr lang="ru-RU" sz="2400" b="1" dirty="0">
                <a:solidFill>
                  <a:schemeClr val="bg1"/>
                </a:solidFill>
                <a:latin typeface="Arial" charset="0"/>
                <a:ea typeface="+mj-ea"/>
                <a:cs typeface="Arial" charset="0"/>
              </a:rPr>
              <a:t>Информация о компании и основные виды страхования</a:t>
            </a:r>
            <a:endParaRPr lang="ru-RU" sz="24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  <a:p>
            <a:pPr algn="ctr">
              <a:spcAft>
                <a:spcPts val="0"/>
              </a:spcAft>
              <a:tabLst>
                <a:tab pos="195263" algn="l"/>
              </a:tabLst>
              <a:defRPr/>
            </a:pPr>
            <a:endParaRPr lang="en-US" sz="2400" b="1" dirty="0">
              <a:solidFill>
                <a:srgbClr val="FFFF00"/>
              </a:solidFill>
              <a:latin typeface="Arial" charset="0"/>
              <a:cs typeface="Arial" charset="0"/>
            </a:endParaRPr>
          </a:p>
        </p:txBody>
      </p:sp>
      <p:pic>
        <p:nvPicPr>
          <p:cNvPr id="13" name="Picture 7" descr="logo"/>
          <p:cNvPicPr>
            <a:picLocks noChangeAspect="1" noChangeArrowheads="1"/>
          </p:cNvPicPr>
          <p:nvPr/>
        </p:nvPicPr>
        <p:blipFill>
          <a:blip r:embed="rId4"/>
          <a:srcRect l="-2787" t="-7384" r="-3185" b="-9769"/>
          <a:stretch>
            <a:fillRect/>
          </a:stretch>
        </p:blipFill>
        <p:spPr bwMode="auto">
          <a:xfrm>
            <a:off x="5500694" y="5357826"/>
            <a:ext cx="3230026" cy="687384"/>
          </a:xfrm>
          <a:prstGeom prst="round2DiagRect">
            <a:avLst>
              <a:gd name="adj1" fmla="val 21511"/>
              <a:gd name="adj2" fmla="val 0"/>
            </a:avLst>
          </a:prstGeom>
          <a:solidFill>
            <a:srgbClr val="008000"/>
          </a:solidFill>
          <a:ln>
            <a:noFill/>
          </a:ln>
          <a:effectLst>
            <a:glow rad="63500">
              <a:schemeClr val="bg1"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  <a:reflection blurRad="6350" stA="50000" endA="300" endPos="55500" dist="50800" dir="5400000" sy="-100000" algn="bl" rotWithShape="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Rectangle 29"/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gray">
          <a:xfrm>
            <a:off x="466725" y="214313"/>
            <a:ext cx="5689600" cy="571500"/>
          </a:xfrm>
          <a:prstGeom prst="rect">
            <a:avLst/>
          </a:prstGeom>
          <a:solidFill>
            <a:srgbClr val="F3EEEF"/>
          </a:solidFill>
          <a:ln w="9525" algn="ctr">
            <a:noFill/>
            <a:miter lim="800000"/>
            <a:headEnd/>
            <a:tailEnd/>
          </a:ln>
        </p:spPr>
        <p:txBody>
          <a:bodyPr lIns="108000" tIns="36000" rIns="36000" bIns="36000" anchor="ctr"/>
          <a:lstStyle/>
          <a:p>
            <a:pPr algn="ctr" defTabSz="784225"/>
            <a:r>
              <a:rPr lang="ru-RU" sz="2000">
                <a:solidFill>
                  <a:schemeClr val="tx2"/>
                </a:solidFill>
              </a:rPr>
              <a:t>Наши возможности</a:t>
            </a:r>
          </a:p>
        </p:txBody>
      </p:sp>
      <p:sp>
        <p:nvSpPr>
          <p:cNvPr id="5" name="Rectangle 29"/>
          <p:cNvSpPr>
            <a:spLocks noGrp="1" noChangeArrowheads="1"/>
          </p:cNvSpPr>
          <p:nvPr>
            <p:custDataLst>
              <p:tags r:id="rId2"/>
            </p:custDataLst>
          </p:nvPr>
        </p:nvSpPr>
        <p:spPr bwMode="gray">
          <a:xfrm>
            <a:off x="500034" y="1000108"/>
            <a:ext cx="8358246" cy="35719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08000" tIns="36000" rIns="36000" bIns="36000"/>
          <a:lstStyle/>
          <a:p>
            <a:pPr algn="ctr">
              <a:defRPr/>
            </a:pPr>
            <a:r>
              <a:rPr lang="ru-RU" sz="1600" b="1" u="sng" dirty="0"/>
              <a:t>Компания </a:t>
            </a:r>
            <a:r>
              <a:rPr lang="ru-RU" sz="1600" b="1" u="sng" dirty="0" err="1"/>
              <a:t>РК-гарант</a:t>
            </a:r>
            <a:r>
              <a:rPr lang="ru-RU" sz="1600" b="1" u="sng" dirty="0"/>
              <a:t> имеет  лицензию на 69 видов страхования</a:t>
            </a:r>
            <a:endParaRPr lang="ru-RU" sz="1600" dirty="0"/>
          </a:p>
        </p:txBody>
      </p:sp>
      <p:sp>
        <p:nvSpPr>
          <p:cNvPr id="31749" name="TextBox 6"/>
          <p:cNvSpPr txBox="1">
            <a:spLocks noChangeArrowheads="1"/>
          </p:cNvSpPr>
          <p:nvPr/>
        </p:nvSpPr>
        <p:spPr bwMode="auto">
          <a:xfrm>
            <a:off x="500063" y="1428750"/>
            <a:ext cx="8643937" cy="5170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 sz="1000"/>
              <a:t>Помимо уже представленных выше видов страхования наша компания готова предложить страховую защиту практически по всем направлениям деятельности юридических лиц, а также по всему комплексу имущественных интересов физических лиц:</a:t>
            </a:r>
          </a:p>
          <a:p>
            <a:pPr algn="just"/>
            <a:r>
              <a:rPr lang="ru-RU" sz="1000" b="1" u="sng">
                <a:solidFill>
                  <a:srgbClr val="FF0000"/>
                </a:solidFill>
              </a:rPr>
              <a:t>Страхование от несчастных случаев и болезней и ДМС: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от несчастных случаев и болезней </a:t>
            </a:r>
          </a:p>
          <a:p>
            <a:pPr algn="just">
              <a:buFontTx/>
              <a:buChar char="-"/>
            </a:pPr>
            <a:r>
              <a:rPr lang="ru-RU" sz="1000"/>
              <a:t>Добровольное медицинское страхование Страхование расходов лиц, выезжающих за границу.</a:t>
            </a:r>
          </a:p>
          <a:p>
            <a:pPr algn="just">
              <a:buFontTx/>
              <a:buChar char="-"/>
            </a:pPr>
            <a:r>
              <a:rPr lang="ru-RU" sz="1000"/>
              <a:t> Страхование материальных потерь туристов, связанных с вынужденным отказом от туристической поездки 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финансовых рисков, связанных с непредвиденными расходами граждан при поездке по территории РФ  </a:t>
            </a:r>
          </a:p>
          <a:p>
            <a:pPr algn="just"/>
            <a:r>
              <a:rPr lang="ru-RU" sz="1000" b="1" u="sng">
                <a:solidFill>
                  <a:srgbClr val="FF0000"/>
                </a:solidFill>
              </a:rPr>
              <a:t>Страхование транспортных средств:</a:t>
            </a:r>
          </a:p>
          <a:p>
            <a:pPr algn="just"/>
            <a:r>
              <a:rPr lang="ru-RU" sz="1000" b="1"/>
              <a:t>- </a:t>
            </a:r>
            <a:r>
              <a:rPr lang="ru-RU" sz="1000"/>
              <a:t>Страхование средств воздушного транспорта </a:t>
            </a:r>
          </a:p>
          <a:p>
            <a:pPr algn="just"/>
            <a:r>
              <a:rPr lang="ru-RU" sz="1000"/>
              <a:t>- Страхование средств водного транспорта </a:t>
            </a:r>
          </a:p>
          <a:p>
            <a:pPr algn="just">
              <a:buFontTx/>
              <a:buChar char="-"/>
            </a:pPr>
            <a:r>
              <a:rPr lang="ru-RU" sz="1000"/>
              <a:t> Страхование автотранспортных средств </a:t>
            </a:r>
          </a:p>
          <a:p>
            <a:pPr algn="just">
              <a:buFontTx/>
              <a:buChar char="-"/>
            </a:pPr>
            <a:r>
              <a:rPr lang="ru-RU" sz="1000"/>
              <a:t> Страхование гражданской ответственности владельцев автотранспортных средств (добровольное) </a:t>
            </a:r>
          </a:p>
          <a:p>
            <a:pPr algn="just">
              <a:buFontTx/>
              <a:buChar char="-"/>
            </a:pPr>
            <a:r>
              <a:rPr lang="ru-RU" sz="1000"/>
              <a:t> Страхование маломерных судов Обязательное страхование гражданской ответственности владельцев транспортных средств </a:t>
            </a:r>
          </a:p>
          <a:p>
            <a:pPr algn="just"/>
            <a:r>
              <a:rPr lang="ru-RU" sz="1000" b="1" u="sng">
                <a:solidFill>
                  <a:srgbClr val="FF0000"/>
                </a:solidFill>
              </a:rPr>
              <a:t>Страхование имущества:</a:t>
            </a:r>
            <a:r>
              <a:rPr lang="ru-RU" sz="1000" u="sng">
                <a:solidFill>
                  <a:srgbClr val="FF0000"/>
                </a:solidFill>
              </a:rPr>
              <a:t> 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рельсовых транспортных средств 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арендуемого нежилого фонда г.Москвы 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имущества от утраты в результате прекращения права собственности. 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имущества юридических лиц</a:t>
            </a:r>
            <a:r>
              <a:rPr lang="ru-RU" sz="1000" b="1"/>
              <a:t> </a:t>
            </a:r>
            <a:r>
              <a:rPr lang="ru-RU" sz="1000"/>
              <a:t> 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имущества физических лиц</a:t>
            </a:r>
            <a:r>
              <a:rPr lang="ru-RU" sz="1000" b="1"/>
              <a:t> </a:t>
            </a:r>
            <a:r>
              <a:rPr lang="ru-RU" sz="1000"/>
              <a:t> 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строительно-монтажных работ </a:t>
            </a:r>
          </a:p>
          <a:p>
            <a:pPr algn="just">
              <a:buFontTx/>
              <a:buChar char="-"/>
            </a:pPr>
            <a:r>
              <a:rPr lang="ru-RU" sz="1000"/>
              <a:t>Комплексное страхование банков и иных финансовых учреждений </a:t>
            </a:r>
          </a:p>
          <a:p>
            <a:pPr algn="just">
              <a:buFontTx/>
              <a:buChar char="-"/>
            </a:pPr>
            <a:r>
              <a:rPr lang="ru-RU" sz="1000"/>
              <a:t>Комплексное ипотечное страхование </a:t>
            </a:r>
          </a:p>
          <a:p>
            <a:pPr algn="just"/>
            <a:r>
              <a:rPr lang="ru-RU" sz="1000" b="1" u="sng">
                <a:solidFill>
                  <a:srgbClr val="FF0000"/>
                </a:solidFill>
              </a:rPr>
              <a:t>Страхование сельскохозяйственных рисков</a:t>
            </a:r>
            <a:r>
              <a:rPr lang="ru-RU" sz="1000" u="sng">
                <a:solidFill>
                  <a:srgbClr val="FF0000"/>
                </a:solidFill>
              </a:rPr>
              <a:t> </a:t>
            </a:r>
          </a:p>
          <a:p>
            <a:pPr algn="just"/>
            <a:r>
              <a:rPr lang="ru-RU" sz="1000"/>
              <a:t>-Страхование урожая сельскохозяйственных культур и многолетних насаждений </a:t>
            </a:r>
          </a:p>
          <a:p>
            <a:pPr algn="just"/>
            <a:r>
              <a:rPr lang="ru-RU" sz="1000"/>
              <a:t>-Страхование урожая сельскохозяйственных культур, урожая многолетних насаждений и посадок многолетних насаждений, осуществляемого с государственной поддержкой </a:t>
            </a:r>
          </a:p>
          <a:p>
            <a:pPr algn="just"/>
            <a:r>
              <a:rPr lang="ru-RU" sz="1000"/>
              <a:t>-Страхование сельскохозяйственных животных </a:t>
            </a:r>
          </a:p>
          <a:p>
            <a:pPr algn="just"/>
            <a:r>
              <a:rPr lang="ru-RU" sz="1000" b="1" u="sng">
                <a:solidFill>
                  <a:srgbClr val="FF0000"/>
                </a:solidFill>
              </a:rPr>
              <a:t>Страхование финансовых рисков</a:t>
            </a:r>
            <a:r>
              <a:rPr lang="ru-RU" sz="1000" u="sng">
                <a:solidFill>
                  <a:srgbClr val="FF0000"/>
                </a:solidFill>
              </a:rPr>
              <a:t> </a:t>
            </a:r>
          </a:p>
          <a:p>
            <a:pPr algn="just"/>
            <a:r>
              <a:rPr lang="ru-RU" sz="1000"/>
              <a:t>-Страхование финансовых (предпринимательских) рисков на случай неисполнения (ненадлежащего исполнения) договорных обязательств </a:t>
            </a:r>
          </a:p>
          <a:p>
            <a:pPr algn="just"/>
            <a:r>
              <a:rPr lang="ru-RU" sz="1000"/>
              <a:t>-Страхование финансовых рисков, связанных с инвестициями в реформирование и модернизацию ЖКХ </a:t>
            </a:r>
          </a:p>
          <a:p>
            <a:pPr algn="just"/>
            <a:r>
              <a:rPr lang="ru-RU" sz="1000"/>
              <a:t>-Страхование финансовых рисков, связанных со сделкой лизинга </a:t>
            </a:r>
          </a:p>
          <a:p>
            <a:pPr algn="just"/>
            <a:r>
              <a:rPr lang="ru-RU" sz="1000"/>
              <a:t>-Страхование финансового риска при долевом участии в строительстве объектов недвижимости </a:t>
            </a:r>
          </a:p>
          <a:p>
            <a:pPr algn="just"/>
            <a:r>
              <a:rPr lang="ru-RU" sz="1000"/>
              <a:t>-Страхование финансовых рисков, связанных с непредвиденными расходами граждан при поездке по территории РФ  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Rectangle 29"/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gray">
          <a:xfrm>
            <a:off x="466725" y="214313"/>
            <a:ext cx="5689600" cy="571500"/>
          </a:xfrm>
          <a:prstGeom prst="rect">
            <a:avLst/>
          </a:prstGeom>
          <a:solidFill>
            <a:srgbClr val="F3EEEF"/>
          </a:solidFill>
          <a:ln w="9525" algn="ctr">
            <a:noFill/>
            <a:miter lim="800000"/>
            <a:headEnd/>
            <a:tailEnd/>
          </a:ln>
        </p:spPr>
        <p:txBody>
          <a:bodyPr lIns="108000" tIns="36000" rIns="36000" bIns="36000" anchor="ctr"/>
          <a:lstStyle/>
          <a:p>
            <a:pPr algn="ctr" defTabSz="784225"/>
            <a:r>
              <a:rPr lang="ru-RU" sz="2000">
                <a:solidFill>
                  <a:schemeClr val="tx2"/>
                </a:solidFill>
              </a:rPr>
              <a:t>Наши возможности</a:t>
            </a:r>
          </a:p>
        </p:txBody>
      </p:sp>
      <p:sp>
        <p:nvSpPr>
          <p:cNvPr id="32770" name="TextBox 6"/>
          <p:cNvSpPr txBox="1">
            <a:spLocks noChangeArrowheads="1"/>
          </p:cNvSpPr>
          <p:nvPr/>
        </p:nvSpPr>
        <p:spPr bwMode="auto">
          <a:xfrm>
            <a:off x="500063" y="835025"/>
            <a:ext cx="8643937" cy="6094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/>
            <a:r>
              <a:rPr lang="ru-RU" sz="1000" b="1" u="sng">
                <a:solidFill>
                  <a:srgbClr val="FF0000"/>
                </a:solidFill>
              </a:rPr>
              <a:t>Страхование ответственности:</a:t>
            </a:r>
            <a:r>
              <a:rPr lang="ru-RU" sz="1000" u="sng">
                <a:solidFill>
                  <a:srgbClr val="FF0000"/>
                </a:solidFill>
              </a:rPr>
              <a:t> </a:t>
            </a:r>
          </a:p>
          <a:p>
            <a:pPr algn="just"/>
            <a:r>
              <a:rPr lang="ru-RU" sz="1000"/>
              <a:t>- Страхование ответственности арбитражных управляющих </a:t>
            </a:r>
          </a:p>
          <a:p>
            <a:pPr algn="just"/>
            <a:r>
              <a:rPr lang="ru-RU" sz="1000"/>
              <a:t>- Страхование ответственности перевозчика 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гражданской ответственности лиц, оказывающих услуги, связанные с перевозкой грузов 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профессиональной ответственности аудиторов 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ответственности аудиторов при осуществлении обязательного аудита 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гражданской ответственности нотариусов 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профессиональной ответственности риэлтеров 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ответственности оценщиков 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профессиональной ответственности врачей 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гражданской ответственности медицинских работников 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профессиональной ответственности лиц, занимающихся: архитектурной деятельностью (профессиональной ответственности строителей). 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 гражданской ответственности фармацевтов 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гражданской ответственности 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гражданской ответственности изготовителей и продавцов товара, исполнителей работ (услуг) 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ответственности таможенного перевозчика 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гражданской ответственности владельцев складов временного хранения и таможенных складов. 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ответственности таможенных брокеров 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гражданской ответственности предприятий-источников повышенной опасности 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гражданской ответственности организаций, эксплуатирующих опасные производственные объекты, за причинение вреда жизни, здоровью или имуществу  третьих лиц и окружающей природной среде в результате аварии на опасном производственном объекте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гражданской ответственности за вред, причиненный в результате использования атомной энергии.  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гражданской ответственности владельцев воздушных судов и авиаперевозчиков 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гражданской ответственности судовладельцев 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гражданской ответственности эксплуатирующих организаций и собственников гидротехнических сооружений за причинение вреда жизни, здоровью и имуществу других лиц 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гражданской ответственности туроператоров и турагентов 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ответственности по государственным и муниципальным контрактам 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гражданской ответственности туроператоров за неисполнение или ненадлежащее исполнение обязательств по договорам о реализации туристского продукта 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гражданской ответственности частных охранных предприятий </a:t>
            </a:r>
          </a:p>
          <a:p>
            <a:pPr algn="just">
              <a:buFontTx/>
              <a:buChar char="-"/>
            </a:pPr>
            <a:r>
              <a:rPr lang="ru-RU" sz="1000"/>
              <a:t>Страхование гражданской ответственности подрядных организаций, осуществляющих работы по содержанию и ремонту жилого фонда</a:t>
            </a:r>
          </a:p>
          <a:p>
            <a:pPr algn="just"/>
            <a:r>
              <a:rPr lang="ru-RU" sz="1000" b="1" u="sng">
                <a:solidFill>
                  <a:srgbClr val="FF0000"/>
                </a:solidFill>
              </a:rPr>
              <a:t>Другое</a:t>
            </a:r>
            <a:r>
              <a:rPr lang="ru-RU" sz="1000" u="sng">
                <a:solidFill>
                  <a:srgbClr val="FF0000"/>
                </a:solidFill>
              </a:rPr>
              <a:t> :</a:t>
            </a:r>
          </a:p>
          <a:p>
            <a:pPr algn="just"/>
            <a:r>
              <a:rPr lang="ru-RU" sz="1000"/>
              <a:t>-Страхование экологических рисков </a:t>
            </a:r>
          </a:p>
          <a:p>
            <a:pPr algn="just"/>
            <a:r>
              <a:rPr lang="ru-RU" sz="1000"/>
              <a:t>-Страхование электронных устройств </a:t>
            </a:r>
          </a:p>
          <a:p>
            <a:pPr algn="just"/>
            <a:r>
              <a:rPr lang="ru-RU" sz="1000"/>
              <a:t>-Страхование буровых работ </a:t>
            </a:r>
          </a:p>
          <a:p>
            <a:pPr algn="just"/>
            <a:r>
              <a:rPr lang="ru-RU" sz="1000"/>
              <a:t>-Страхование риска отмены  зрелищных, спортивных и иных массовых мероприятий 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6000750" y="71438"/>
            <a:ext cx="3071813" cy="142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gray">
          <a:xfrm>
            <a:off x="683089" y="676139"/>
            <a:ext cx="7818291" cy="5423087"/>
          </a:xfrm>
          <a:prstGeom prst="rect">
            <a:avLst/>
          </a:prstGeom>
          <a:solidFill>
            <a:srgbClr val="008000"/>
          </a:solidFill>
          <a:ln>
            <a:noFill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l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90000" tIns="46800" rIns="90000" bIns="46800"/>
          <a:lstStyle/>
          <a:p>
            <a:pPr algn="ctr">
              <a:tabLst>
                <a:tab pos="195263" algn="l"/>
              </a:tabLst>
            </a:pPr>
            <a:endParaRPr lang="ru-RU">
              <a:solidFill>
                <a:schemeClr val="bg1"/>
              </a:solidFill>
              <a:latin typeface="Arial" charset="0"/>
              <a:cs typeface="Arial" charset="0"/>
            </a:endParaRPr>
          </a:p>
          <a:p>
            <a:pPr>
              <a:tabLst>
                <a:tab pos="195263" algn="l"/>
              </a:tabLst>
            </a:pPr>
            <a:r>
              <a:rPr lang="ru-RU" sz="3200">
                <a:solidFill>
                  <a:schemeClr val="bg1"/>
                </a:solidFill>
                <a:latin typeface="Arial" charset="0"/>
                <a:cs typeface="Arial" charset="0"/>
              </a:rPr>
              <a:t>СПАСИБО ЗА ВНИМАНИЕ!</a:t>
            </a:r>
          </a:p>
          <a:p>
            <a:pPr>
              <a:tabLst>
                <a:tab pos="195263" algn="l"/>
              </a:tabLst>
            </a:pPr>
            <a:endParaRPr lang="ru-RU" sz="1600" b="1">
              <a:solidFill>
                <a:srgbClr val="FFFFFF"/>
              </a:solidFill>
              <a:cs typeface="Arial" charset="0"/>
            </a:endParaRPr>
          </a:p>
          <a:p>
            <a:pPr>
              <a:tabLst>
                <a:tab pos="195263" algn="l"/>
              </a:tabLst>
            </a:pPr>
            <a:r>
              <a:rPr lang="ru-RU" sz="1600" b="1">
                <a:solidFill>
                  <a:srgbClr val="FFFFFF"/>
                </a:solidFill>
                <a:cs typeface="Arial" charset="0"/>
              </a:rPr>
              <a:t>Россия, 115114 г. Москва, </a:t>
            </a:r>
          </a:p>
          <a:p>
            <a:pPr>
              <a:tabLst>
                <a:tab pos="195263" algn="l"/>
              </a:tabLst>
            </a:pPr>
            <a:r>
              <a:rPr lang="ru-RU" sz="1600" b="1">
                <a:solidFill>
                  <a:srgbClr val="FFFFFF"/>
                </a:solidFill>
                <a:cs typeface="Arial" charset="0"/>
              </a:rPr>
              <a:t>Дербенёвская набережная, д.11,  офис 411</a:t>
            </a:r>
          </a:p>
          <a:p>
            <a:pPr>
              <a:tabLst>
                <a:tab pos="195263" algn="l"/>
              </a:tabLst>
            </a:pPr>
            <a:r>
              <a:rPr lang="ru-RU" sz="1600" b="1">
                <a:solidFill>
                  <a:srgbClr val="FFFFFF"/>
                </a:solidFill>
                <a:cs typeface="Arial" charset="0"/>
              </a:rPr>
              <a:t>Телефон: +7 (495) 223-86-11</a:t>
            </a:r>
          </a:p>
          <a:p>
            <a:pPr>
              <a:tabLst>
                <a:tab pos="195263" algn="l"/>
              </a:tabLst>
            </a:pPr>
            <a:endParaRPr lang="en-US" sz="1600" b="1">
              <a:solidFill>
                <a:srgbClr val="FFFFFF"/>
              </a:solidFill>
              <a:cs typeface="Arial" charset="0"/>
            </a:endParaRPr>
          </a:p>
          <a:p>
            <a:pPr>
              <a:tabLst>
                <a:tab pos="195263" algn="l"/>
              </a:tabLst>
            </a:pPr>
            <a:r>
              <a:rPr lang="ru-RU" sz="1600" b="1">
                <a:solidFill>
                  <a:srgbClr val="FFFFFF"/>
                </a:solidFill>
                <a:cs typeface="Arial" charset="0"/>
              </a:rPr>
              <a:t>195009, г. С-Петербург, Свердловская наб., д.4 б,офис 205</a:t>
            </a:r>
          </a:p>
          <a:p>
            <a:pPr>
              <a:tabLst>
                <a:tab pos="195263" algn="l"/>
              </a:tabLst>
            </a:pPr>
            <a:r>
              <a:rPr lang="ru-RU" sz="1600" b="1">
                <a:solidFill>
                  <a:srgbClr val="FFFFFF"/>
                </a:solidFill>
                <a:cs typeface="Arial" charset="0"/>
              </a:rPr>
              <a:t>Телефон</a:t>
            </a:r>
            <a:r>
              <a:rPr lang="ru-RU" sz="1600" b="1">
                <a:solidFill>
                  <a:srgbClr val="FFFFFF"/>
                </a:solidFill>
                <a:cs typeface="Arial" charset="0"/>
                <a:sym typeface="Wingdings" pitchFamily="2" charset="2"/>
              </a:rPr>
              <a:t>: (812) 334-10-44</a:t>
            </a:r>
            <a:endParaRPr lang="ru-RU" sz="1600" b="1">
              <a:solidFill>
                <a:srgbClr val="FFFFFF"/>
              </a:solidFill>
              <a:cs typeface="Arial" charset="0"/>
            </a:endParaRPr>
          </a:p>
          <a:p>
            <a:pPr>
              <a:tabLst>
                <a:tab pos="195263" algn="l"/>
              </a:tabLst>
            </a:pPr>
            <a:r>
              <a:rPr lang="en-US" sz="1600" b="1">
                <a:solidFill>
                  <a:srgbClr val="FFFFFF"/>
                </a:solidFill>
                <a:cs typeface="Arial" charset="0"/>
                <a:hlinkClick r:id="rId2"/>
              </a:rPr>
              <a:t>www.rkgarant.ru</a:t>
            </a:r>
            <a:r>
              <a:rPr lang="en-US" sz="1600" b="1">
                <a:solidFill>
                  <a:srgbClr val="FFFFFF"/>
                </a:solidFill>
                <a:cs typeface="Arial" charset="0"/>
              </a:rPr>
              <a:t> </a:t>
            </a:r>
            <a:endParaRPr lang="ru-RU" sz="1600" b="1">
              <a:solidFill>
                <a:srgbClr val="FFFFFF"/>
              </a:solidFill>
              <a:cs typeface="Arial" charset="0"/>
            </a:endParaRPr>
          </a:p>
          <a:p>
            <a:pPr>
              <a:tabLst>
                <a:tab pos="195263" algn="l"/>
              </a:tabLst>
            </a:pPr>
            <a:endParaRPr lang="ru-RU" sz="1600" b="1">
              <a:solidFill>
                <a:srgbClr val="FFFFFF"/>
              </a:solidFill>
              <a:cs typeface="Arial" charset="0"/>
            </a:endParaRPr>
          </a:p>
          <a:p>
            <a:pPr>
              <a:tabLst>
                <a:tab pos="195263" algn="l"/>
              </a:tabLst>
            </a:pPr>
            <a:endParaRPr lang="en-US" sz="1600" b="1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7" name="Picture 7" descr="logo"/>
          <p:cNvPicPr>
            <a:picLocks noChangeAspect="1" noChangeArrowheads="1"/>
          </p:cNvPicPr>
          <p:nvPr/>
        </p:nvPicPr>
        <p:blipFill>
          <a:blip r:embed="rId3"/>
          <a:srcRect l="-2787" t="-7384" r="-3185" b="-9769"/>
          <a:stretch>
            <a:fillRect/>
          </a:stretch>
        </p:blipFill>
        <p:spPr bwMode="auto">
          <a:xfrm>
            <a:off x="5500694" y="5813450"/>
            <a:ext cx="3230026" cy="687384"/>
          </a:xfrm>
          <a:prstGeom prst="round2DiagRect">
            <a:avLst>
              <a:gd name="adj1" fmla="val 21511"/>
              <a:gd name="adj2" fmla="val 0"/>
            </a:avLst>
          </a:prstGeom>
          <a:solidFill>
            <a:srgbClr val="008000"/>
          </a:solidFill>
          <a:ln>
            <a:noFill/>
          </a:ln>
          <a:effectLst>
            <a:glow rad="63500">
              <a:schemeClr val="bg1"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  <a:reflection blurRad="6350" stA="50000" endA="300" endPos="55500" dist="50800" dir="5400000" sy="-100000" algn="bl" rotWithShape="0"/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</p:pic>
      <p:sp>
        <p:nvSpPr>
          <p:cNvPr id="9" name="Прямоугольник 8"/>
          <p:cNvSpPr/>
          <p:nvPr/>
        </p:nvSpPr>
        <p:spPr>
          <a:xfrm>
            <a:off x="714375" y="4643438"/>
            <a:ext cx="3500438" cy="142875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defRPr/>
            </a:pPr>
            <a:r>
              <a:rPr lang="ru-RU" dirty="0">
                <a:solidFill>
                  <a:schemeClr val="tx1"/>
                </a:solidFill>
              </a:rPr>
              <a:t>Ваш представитель:</a:t>
            </a:r>
          </a:p>
          <a:p>
            <a:pPr>
              <a:defRPr/>
            </a:pPr>
            <a:r>
              <a:rPr lang="ru-RU" dirty="0">
                <a:solidFill>
                  <a:schemeClr val="tx1"/>
                </a:solidFill>
              </a:rPr>
              <a:t>ФИО________________________</a:t>
            </a:r>
            <a:endParaRPr lang="en-US" dirty="0">
              <a:solidFill>
                <a:schemeClr val="tx1"/>
              </a:solidFill>
            </a:endParaRPr>
          </a:p>
          <a:p>
            <a:pPr>
              <a:defRPr/>
            </a:pPr>
            <a:r>
              <a:rPr lang="ru-RU" dirty="0" err="1">
                <a:solidFill>
                  <a:schemeClr val="tx1"/>
                </a:solidFill>
              </a:rPr>
              <a:t>тел._________________________моб.тел._____________________</a:t>
            </a:r>
            <a:r>
              <a:rPr lang="en-US" dirty="0">
                <a:solidFill>
                  <a:schemeClr val="tx1"/>
                </a:solidFill>
              </a:rPr>
              <a:t>e-mail.ru</a:t>
            </a:r>
            <a:r>
              <a:rPr lang="ru-RU" dirty="0">
                <a:solidFill>
                  <a:schemeClr val="tx1"/>
                </a:solidFill>
              </a:rPr>
              <a:t>_____________________</a:t>
            </a:r>
            <a:endParaRPr lang="ru-RU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784225">
              <a:defRPr/>
            </a:pPr>
            <a:fld id="{4736862F-0B16-4E0B-A0DA-B78058123FD7}" type="slidenum">
              <a:rPr lang="de-DE" smtClean="0"/>
              <a:pPr defTabSz="784225">
                <a:defRPr/>
              </a:pPr>
              <a:t>2</a:t>
            </a:fld>
            <a:endParaRPr lang="de-DE" dirty="0" smtClean="0"/>
          </a:p>
          <a:p>
            <a:pPr defTabSz="784225">
              <a:spcBef>
                <a:spcPct val="50000"/>
              </a:spcBef>
              <a:defRPr/>
            </a:pPr>
            <a:endParaRPr lang="de-DE" dirty="0" smtClean="0"/>
          </a:p>
        </p:txBody>
      </p:sp>
      <p:sp>
        <p:nvSpPr>
          <p:cNvPr id="21506" name="Rectangle 29"/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gray">
          <a:xfrm>
            <a:off x="466725" y="214313"/>
            <a:ext cx="5689600" cy="571500"/>
          </a:xfrm>
          <a:prstGeom prst="rect">
            <a:avLst/>
          </a:prstGeom>
          <a:solidFill>
            <a:srgbClr val="F3EEEF"/>
          </a:solidFill>
          <a:ln w="9525" algn="ctr">
            <a:noFill/>
            <a:miter lim="800000"/>
            <a:headEnd/>
            <a:tailEnd/>
          </a:ln>
        </p:spPr>
        <p:txBody>
          <a:bodyPr lIns="108000" tIns="36000" rIns="36000" bIns="36000" anchor="ctr"/>
          <a:lstStyle/>
          <a:p>
            <a:pPr algn="ctr" defTabSz="784225"/>
            <a:r>
              <a:rPr lang="ru-RU" sz="2000">
                <a:solidFill>
                  <a:schemeClr val="tx2"/>
                </a:solidFill>
              </a:rPr>
              <a:t>Информация о компании</a:t>
            </a:r>
          </a:p>
        </p:txBody>
      </p:sp>
      <p:sp>
        <p:nvSpPr>
          <p:cNvPr id="7" name="TextBox 6"/>
          <p:cNvSpPr txBox="1">
            <a:spLocks/>
          </p:cNvSpPr>
          <p:nvPr/>
        </p:nvSpPr>
        <p:spPr>
          <a:xfrm>
            <a:off x="428625" y="817563"/>
            <a:ext cx="8429625" cy="58975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150" dirty="0">
                <a:latin typeface="+mj-lt"/>
              </a:rPr>
              <a:t>Закрытое </a:t>
            </a:r>
            <a:r>
              <a:rPr lang="ru-RU" sz="1150" dirty="0">
                <a:latin typeface="+mj-lt"/>
              </a:rPr>
              <a:t>акционерное общество «Страховая компания «</a:t>
            </a:r>
            <a:r>
              <a:rPr lang="ru-RU" sz="1150" dirty="0" err="1">
                <a:latin typeface="+mj-lt"/>
              </a:rPr>
              <a:t>РК-гарант</a:t>
            </a:r>
            <a:r>
              <a:rPr lang="ru-RU" sz="1150" dirty="0">
                <a:latin typeface="+mj-lt"/>
              </a:rPr>
              <a:t>»  основана   в 1995 году. </a:t>
            </a:r>
          </a:p>
          <a:p>
            <a:pPr>
              <a:defRPr/>
            </a:pPr>
            <a:r>
              <a:rPr lang="ru-RU" sz="1150" b="1" dirty="0">
                <a:latin typeface="+mj-lt"/>
              </a:rPr>
              <a:t>Уставный капитал</a:t>
            </a:r>
            <a:r>
              <a:rPr lang="ru-RU" sz="1150" dirty="0">
                <a:latin typeface="+mj-lt"/>
              </a:rPr>
              <a:t> составляет 545 715 000 рублей.</a:t>
            </a:r>
          </a:p>
          <a:p>
            <a:pPr>
              <a:defRPr/>
            </a:pPr>
            <a:r>
              <a:rPr lang="ru-RU" sz="1150" dirty="0">
                <a:latin typeface="+mj-lt"/>
              </a:rPr>
              <a:t> </a:t>
            </a:r>
            <a:r>
              <a:rPr lang="ru-RU" sz="1150" dirty="0">
                <a:latin typeface="+mj-lt"/>
              </a:rPr>
              <a:t>	Обеспечивать </a:t>
            </a:r>
            <a:r>
              <a:rPr lang="ru-RU" sz="1150" dirty="0">
                <a:latin typeface="+mj-lt"/>
              </a:rPr>
              <a:t>комплексную защиту финансовых интересов  клиентов компании позволяют лицензии на осуществление страхования  С № 2905 77 и перестрахования П № 2905 77, выданные Федеральной службой страхового надзора РФ. </a:t>
            </a:r>
          </a:p>
          <a:p>
            <a:pPr>
              <a:lnSpc>
                <a:spcPct val="80000"/>
              </a:lnSpc>
              <a:defRPr/>
            </a:pPr>
            <a:r>
              <a:rPr lang="ru-RU" sz="1150" dirty="0">
                <a:latin typeface="+mj-lt"/>
              </a:rPr>
              <a:t> </a:t>
            </a:r>
            <a:r>
              <a:rPr lang="ru-RU" sz="1150" b="1" dirty="0">
                <a:latin typeface="+mj-lt"/>
              </a:rPr>
              <a:t>Состав акционеров. </a:t>
            </a:r>
          </a:p>
          <a:p>
            <a:pPr>
              <a:lnSpc>
                <a:spcPct val="80000"/>
              </a:lnSpc>
              <a:defRPr/>
            </a:pPr>
            <a:r>
              <a:rPr lang="ru-RU" sz="1150" b="1" dirty="0">
                <a:latin typeface="+mj-lt"/>
              </a:rPr>
              <a:t> </a:t>
            </a:r>
            <a:r>
              <a:rPr lang="ru-RU" sz="1150" b="1" dirty="0">
                <a:latin typeface="+mj-lt"/>
              </a:rPr>
              <a:t>     	</a:t>
            </a:r>
            <a:r>
              <a:rPr lang="ru-RU" sz="1150" dirty="0">
                <a:latin typeface="+mj-lt"/>
              </a:rPr>
              <a:t>В </a:t>
            </a:r>
            <a:r>
              <a:rPr lang="ru-RU" sz="1150" dirty="0">
                <a:latin typeface="+mj-lt"/>
              </a:rPr>
              <a:t>2011 году ООО «Лизинг Групп </a:t>
            </a:r>
            <a:r>
              <a:rPr lang="ru-RU" sz="1150" dirty="0" err="1">
                <a:latin typeface="+mj-lt"/>
              </a:rPr>
              <a:t>Индастри</a:t>
            </a:r>
            <a:r>
              <a:rPr lang="ru-RU" sz="1150" dirty="0">
                <a:latin typeface="+mj-lt"/>
              </a:rPr>
              <a:t>» приобрело 100% акций страховой компании у ООО «Холдинговая компания «Метрополь».</a:t>
            </a:r>
          </a:p>
          <a:p>
            <a:pPr>
              <a:lnSpc>
                <a:spcPct val="80000"/>
              </a:lnSpc>
              <a:defRPr/>
            </a:pPr>
            <a:r>
              <a:rPr lang="ru-RU" sz="1150" dirty="0">
                <a:latin typeface="+mj-lt"/>
              </a:rPr>
              <a:t>   </a:t>
            </a:r>
            <a:r>
              <a:rPr lang="ru-RU" sz="1150" dirty="0">
                <a:latin typeface="+mj-lt"/>
              </a:rPr>
              <a:t>	Новый </a:t>
            </a:r>
            <a:r>
              <a:rPr lang="ru-RU" sz="1150" dirty="0">
                <a:latin typeface="+mj-lt"/>
              </a:rPr>
              <a:t>акционер хочет увеличить капитализацию страховой компании за счет увеличения объемов бизнеса при соблюдении рентабельности. Ближайшие задачи – реализация программы по повышению эффективности деятельности, рост объемов премии, повышение </a:t>
            </a:r>
            <a:r>
              <a:rPr lang="ru-RU" sz="1150" dirty="0" err="1">
                <a:latin typeface="+mj-lt"/>
              </a:rPr>
              <a:t>клиентоориентированности</a:t>
            </a:r>
            <a:r>
              <a:rPr lang="ru-RU" sz="1150" dirty="0">
                <a:latin typeface="+mj-lt"/>
              </a:rPr>
              <a:t>.</a:t>
            </a:r>
          </a:p>
          <a:p>
            <a:pPr>
              <a:defRPr/>
            </a:pPr>
            <a:r>
              <a:rPr lang="ru-RU" sz="1150" dirty="0">
                <a:latin typeface="+mj-lt"/>
              </a:rPr>
              <a:t>	Сегодня </a:t>
            </a:r>
            <a:r>
              <a:rPr lang="ru-RU" sz="1150" dirty="0">
                <a:latin typeface="+mj-lt"/>
              </a:rPr>
              <a:t>ЗАО «</a:t>
            </a:r>
            <a:r>
              <a:rPr lang="ru-RU" sz="1150" dirty="0" err="1">
                <a:latin typeface="+mj-lt"/>
              </a:rPr>
              <a:t>РК-гарант</a:t>
            </a:r>
            <a:r>
              <a:rPr lang="ru-RU" sz="1150" dirty="0">
                <a:latin typeface="+mj-lt"/>
              </a:rPr>
              <a:t>» - это универсальная страховая компания, располагающая полным спектром лицензий на страховую деятельность, высоким уровнем надёжности, устойчивой динамикой роста как клиентской базы, так и финансовых показателей. Более 8 тысяч предприятий по всей стране и без малого 400 тысяч человек передали свои имущественные интересы под защиту «</a:t>
            </a:r>
            <a:r>
              <a:rPr lang="ru-RU" sz="1150" dirty="0" err="1">
                <a:latin typeface="+mj-lt"/>
              </a:rPr>
              <a:t>РК-гарант</a:t>
            </a:r>
            <a:r>
              <a:rPr lang="ru-RU" sz="1150" dirty="0">
                <a:latin typeface="+mj-lt"/>
              </a:rPr>
              <a:t>».</a:t>
            </a:r>
          </a:p>
          <a:p>
            <a:pPr>
              <a:defRPr/>
            </a:pPr>
            <a:r>
              <a:rPr lang="ru-RU" sz="1150" b="1" dirty="0">
                <a:latin typeface="+mj-lt"/>
              </a:rPr>
              <a:t>Наши клиенты.</a:t>
            </a:r>
            <a:endParaRPr lang="ru-RU" sz="1150" b="1" dirty="0">
              <a:latin typeface="+mj-lt"/>
            </a:endParaRPr>
          </a:p>
          <a:p>
            <a:pPr>
              <a:defRPr/>
            </a:pPr>
            <a:r>
              <a:rPr lang="ru-RU" sz="1150" dirty="0">
                <a:latin typeface="+mj-lt"/>
              </a:rPr>
              <a:t>         </a:t>
            </a:r>
            <a:r>
              <a:rPr lang="ru-RU" sz="1150" dirty="0">
                <a:latin typeface="+mj-lt"/>
              </a:rPr>
              <a:t>	Среди </a:t>
            </a:r>
            <a:r>
              <a:rPr lang="ru-RU" sz="1150" dirty="0">
                <a:latin typeface="+mj-lt"/>
              </a:rPr>
              <a:t>крупных клиентов такие компании, как: ООО «</a:t>
            </a:r>
            <a:r>
              <a:rPr lang="ru-RU" sz="1150" dirty="0" err="1">
                <a:latin typeface="+mj-lt"/>
              </a:rPr>
              <a:t>ТГИ-Лизинг</a:t>
            </a:r>
            <a:r>
              <a:rPr lang="ru-RU" sz="1150" dirty="0">
                <a:latin typeface="+mj-lt"/>
              </a:rPr>
              <a:t>», Группа компаний «ИОН», ЗАО «</a:t>
            </a:r>
            <a:r>
              <a:rPr lang="ru-RU" sz="1150" dirty="0" err="1">
                <a:latin typeface="+mj-lt"/>
              </a:rPr>
              <a:t>Астравел</a:t>
            </a:r>
            <a:r>
              <a:rPr lang="ru-RU" sz="1150" dirty="0">
                <a:latin typeface="+mj-lt"/>
              </a:rPr>
              <a:t>», Сеть Аптек «Доктор Столетов», «</a:t>
            </a:r>
            <a:r>
              <a:rPr lang="ru-RU" sz="1150" dirty="0" err="1">
                <a:latin typeface="+mj-lt"/>
              </a:rPr>
              <a:t>Логотранс</a:t>
            </a:r>
            <a:r>
              <a:rPr lang="ru-RU" sz="1150" dirty="0">
                <a:latin typeface="+mj-lt"/>
              </a:rPr>
              <a:t>», ООО «Лизинг групп </a:t>
            </a:r>
            <a:r>
              <a:rPr lang="ru-RU" sz="1150" dirty="0" err="1">
                <a:latin typeface="+mj-lt"/>
              </a:rPr>
              <a:t>индастри</a:t>
            </a:r>
            <a:r>
              <a:rPr lang="ru-RU" sz="1150" dirty="0">
                <a:latin typeface="+mj-lt"/>
              </a:rPr>
              <a:t>».</a:t>
            </a:r>
          </a:p>
          <a:p>
            <a:pPr>
              <a:defRPr/>
            </a:pPr>
            <a:r>
              <a:rPr lang="ru-RU" sz="1150" b="1" dirty="0">
                <a:latin typeface="+mj-lt"/>
              </a:rPr>
              <a:t>Перестраховочная защита.</a:t>
            </a:r>
            <a:endParaRPr lang="ru-RU" sz="1150" b="1" dirty="0">
              <a:latin typeface="+mj-lt"/>
            </a:endParaRPr>
          </a:p>
          <a:p>
            <a:pPr>
              <a:defRPr/>
            </a:pPr>
            <a:r>
              <a:rPr lang="ru-RU" sz="1150" dirty="0">
                <a:latin typeface="+mj-lt"/>
              </a:rPr>
              <a:t>          </a:t>
            </a:r>
            <a:r>
              <a:rPr lang="ru-RU" sz="1150" dirty="0">
                <a:latin typeface="+mj-lt"/>
              </a:rPr>
              <a:t>	Перестраховочная </a:t>
            </a:r>
            <a:r>
              <a:rPr lang="ru-RU" sz="1150" dirty="0">
                <a:latin typeface="+mj-lt"/>
              </a:rPr>
              <a:t>программа ЗАО «Страховая компания «</a:t>
            </a:r>
            <a:r>
              <a:rPr lang="ru-RU" sz="1150" dirty="0" err="1">
                <a:latin typeface="+mj-lt"/>
              </a:rPr>
              <a:t>РК-гарант</a:t>
            </a:r>
            <a:r>
              <a:rPr lang="ru-RU" sz="1150" dirty="0">
                <a:latin typeface="+mj-lt"/>
              </a:rPr>
              <a:t>» существует с момента основания компании и надежно защищает наш страховой портфель. Основой нашей системы перестраховочной защиты являются перестраховочные договоры, которые покрывают все основные виды страхования, проводимые обществом. Компания давно и тесно сотрудничает в области перестрахования с солидными зарубежными и российскими страховыми и перестраховочными компаниями, среди них такие компании как:</a:t>
            </a:r>
          </a:p>
          <a:p>
            <a:pPr>
              <a:defRPr/>
            </a:pPr>
            <a:r>
              <a:rPr lang="ru-RU" sz="1150" dirty="0">
                <a:latin typeface="+mj-lt"/>
              </a:rPr>
              <a:t>·</a:t>
            </a:r>
            <a:r>
              <a:rPr lang="en-US" sz="1150" dirty="0">
                <a:latin typeface="+mj-lt"/>
              </a:rPr>
              <a:t>     </a:t>
            </a:r>
            <a:r>
              <a:rPr lang="ru-RU" sz="1150" dirty="0">
                <a:latin typeface="+mj-lt"/>
              </a:rPr>
              <a:t>Синдикаты </a:t>
            </a:r>
            <a:r>
              <a:rPr lang="en-US" sz="1150" dirty="0">
                <a:latin typeface="+mj-lt"/>
              </a:rPr>
              <a:t>Lloyds</a:t>
            </a:r>
            <a:r>
              <a:rPr lang="ru-RU" sz="1150" dirty="0">
                <a:latin typeface="+mj-lt"/>
              </a:rPr>
              <a:t>` </a:t>
            </a:r>
            <a:r>
              <a:rPr lang="en-US" sz="1150" dirty="0">
                <a:latin typeface="+mj-lt"/>
              </a:rPr>
              <a:t>of London</a:t>
            </a:r>
            <a:r>
              <a:rPr lang="ru-RU" sz="1150" dirty="0">
                <a:latin typeface="+mj-lt"/>
              </a:rPr>
              <a:t>, </a:t>
            </a:r>
            <a:r>
              <a:rPr lang="en-US" sz="1150" dirty="0">
                <a:latin typeface="+mj-lt"/>
              </a:rPr>
              <a:t>SCOR</a:t>
            </a:r>
            <a:r>
              <a:rPr lang="ru-RU" sz="1150" dirty="0">
                <a:latin typeface="+mj-lt"/>
              </a:rPr>
              <a:t>, </a:t>
            </a:r>
            <a:r>
              <a:rPr lang="en-US" sz="1150" dirty="0">
                <a:latin typeface="+mj-lt"/>
              </a:rPr>
              <a:t>Odyssey</a:t>
            </a:r>
            <a:r>
              <a:rPr lang="ru-RU" sz="1150" dirty="0">
                <a:latin typeface="+mj-lt"/>
              </a:rPr>
              <a:t>, </a:t>
            </a:r>
            <a:r>
              <a:rPr lang="en-US" sz="1150" dirty="0">
                <a:latin typeface="+mj-lt"/>
              </a:rPr>
              <a:t>QBE</a:t>
            </a:r>
            <a:r>
              <a:rPr lang="ru-RU" sz="1150" dirty="0">
                <a:latin typeface="+mj-lt"/>
              </a:rPr>
              <a:t>, </a:t>
            </a:r>
            <a:r>
              <a:rPr lang="en-US" sz="1150" dirty="0">
                <a:latin typeface="+mj-lt"/>
              </a:rPr>
              <a:t>Aspen</a:t>
            </a:r>
            <a:r>
              <a:rPr lang="ru-RU" sz="1150" dirty="0">
                <a:latin typeface="+mj-lt"/>
              </a:rPr>
              <a:t>, -  </a:t>
            </a:r>
            <a:r>
              <a:rPr lang="en-US" sz="1150" dirty="0">
                <a:latin typeface="+mj-lt"/>
              </a:rPr>
              <a:t>Odyssey America Reinsurance Corporation</a:t>
            </a:r>
            <a:r>
              <a:rPr lang="ru-RU" sz="1150" dirty="0">
                <a:latin typeface="+mj-lt"/>
              </a:rPr>
              <a:t>, </a:t>
            </a:r>
            <a:r>
              <a:rPr lang="en-US" sz="1150" dirty="0">
                <a:latin typeface="+mj-lt"/>
              </a:rPr>
              <a:t>USA</a:t>
            </a:r>
            <a:r>
              <a:rPr lang="ru-RU" sz="1150" dirty="0">
                <a:latin typeface="+mj-lt"/>
              </a:rPr>
              <a:t>, </a:t>
            </a:r>
            <a:r>
              <a:rPr lang="en-US" sz="1150" dirty="0">
                <a:latin typeface="+mj-lt"/>
              </a:rPr>
              <a:t>Swedish Branch</a:t>
            </a:r>
            <a:r>
              <a:rPr lang="ru-RU" sz="1150" dirty="0">
                <a:latin typeface="+mj-lt"/>
              </a:rPr>
              <a:t>, </a:t>
            </a:r>
            <a:r>
              <a:rPr lang="en-US" sz="1150" dirty="0" err="1">
                <a:latin typeface="+mj-lt"/>
              </a:rPr>
              <a:t>Converium</a:t>
            </a:r>
            <a:r>
              <a:rPr lang="en-US" sz="1150" dirty="0">
                <a:latin typeface="+mj-lt"/>
              </a:rPr>
              <a:t> </a:t>
            </a:r>
            <a:r>
              <a:rPr lang="en-US" sz="1150" dirty="0" err="1">
                <a:latin typeface="+mj-lt"/>
              </a:rPr>
              <a:t>Ruckversicherung</a:t>
            </a:r>
            <a:r>
              <a:rPr lang="ru-RU" sz="1150" dirty="0">
                <a:latin typeface="+mj-lt"/>
              </a:rPr>
              <a:t> (</a:t>
            </a:r>
            <a:r>
              <a:rPr lang="en-US" sz="1150" dirty="0">
                <a:latin typeface="+mj-lt"/>
              </a:rPr>
              <a:t>Deutschland</a:t>
            </a:r>
            <a:r>
              <a:rPr lang="ru-RU" sz="1150" dirty="0">
                <a:latin typeface="+mj-lt"/>
              </a:rPr>
              <a:t>) </a:t>
            </a:r>
            <a:r>
              <a:rPr lang="en-US" sz="1150" dirty="0">
                <a:latin typeface="+mj-lt"/>
              </a:rPr>
              <a:t>AG</a:t>
            </a:r>
            <a:r>
              <a:rPr lang="ru-RU" sz="1150" dirty="0">
                <a:latin typeface="+mj-lt"/>
              </a:rPr>
              <a:t>, </a:t>
            </a:r>
            <a:r>
              <a:rPr lang="en-US" sz="1150" dirty="0">
                <a:latin typeface="+mj-lt"/>
              </a:rPr>
              <a:t>Germany</a:t>
            </a:r>
            <a:r>
              <a:rPr lang="ru-RU" sz="1150" dirty="0">
                <a:latin typeface="+mj-lt"/>
              </a:rPr>
              <a:t>, </a:t>
            </a:r>
            <a:r>
              <a:rPr lang="en-US" sz="1150" dirty="0">
                <a:latin typeface="+mj-lt"/>
              </a:rPr>
              <a:t>Hannover </a:t>
            </a:r>
            <a:r>
              <a:rPr lang="en-US" sz="1150" dirty="0" err="1">
                <a:latin typeface="+mj-lt"/>
              </a:rPr>
              <a:t>Ruckversicherungs</a:t>
            </a:r>
            <a:r>
              <a:rPr lang="ru-RU" sz="1150" dirty="0">
                <a:latin typeface="+mj-lt"/>
              </a:rPr>
              <a:t>-</a:t>
            </a:r>
            <a:r>
              <a:rPr lang="en-US" sz="1150" dirty="0" err="1">
                <a:latin typeface="+mj-lt"/>
              </a:rPr>
              <a:t>Aktiengesellschaft</a:t>
            </a:r>
            <a:r>
              <a:rPr lang="ru-RU" sz="1150" dirty="0">
                <a:latin typeface="+mj-lt"/>
              </a:rPr>
              <a:t>, </a:t>
            </a:r>
            <a:r>
              <a:rPr lang="en-US" sz="1150" dirty="0">
                <a:latin typeface="+mj-lt"/>
              </a:rPr>
              <a:t>QBE</a:t>
            </a:r>
            <a:r>
              <a:rPr lang="ru-RU" sz="1150" dirty="0">
                <a:latin typeface="+mj-lt"/>
              </a:rPr>
              <a:t> – </a:t>
            </a:r>
            <a:r>
              <a:rPr lang="en-US" sz="1150" dirty="0">
                <a:latin typeface="+mj-lt"/>
              </a:rPr>
              <a:t>Limit</a:t>
            </a:r>
            <a:r>
              <a:rPr lang="ru-RU" sz="1150" dirty="0">
                <a:latin typeface="+mj-lt"/>
              </a:rPr>
              <a:t>,  </a:t>
            </a:r>
            <a:r>
              <a:rPr lang="en-US" sz="1150" dirty="0">
                <a:latin typeface="+mj-lt"/>
              </a:rPr>
              <a:t>Aspen Insurance UK Limited</a:t>
            </a:r>
            <a:r>
              <a:rPr lang="ru-RU" sz="1150" dirty="0">
                <a:latin typeface="+mj-lt"/>
              </a:rPr>
              <a:t>, </a:t>
            </a:r>
            <a:r>
              <a:rPr lang="en-US" sz="1150" dirty="0">
                <a:latin typeface="+mj-lt"/>
              </a:rPr>
              <a:t>UK trading as Aspen Re</a:t>
            </a:r>
            <a:r>
              <a:rPr lang="ru-RU" sz="1150" dirty="0">
                <a:latin typeface="+mj-lt"/>
              </a:rPr>
              <a:t>, </a:t>
            </a:r>
            <a:r>
              <a:rPr lang="en-US" sz="1150" dirty="0">
                <a:latin typeface="+mj-lt"/>
              </a:rPr>
              <a:t>UK</a:t>
            </a:r>
            <a:r>
              <a:rPr lang="ru-RU" sz="1150" dirty="0">
                <a:latin typeface="+mj-lt"/>
              </a:rPr>
              <a:t>;</a:t>
            </a:r>
          </a:p>
          <a:p>
            <a:pPr>
              <a:defRPr/>
            </a:pPr>
            <a:r>
              <a:rPr lang="ru-RU" sz="1150" dirty="0">
                <a:latin typeface="+mj-lt"/>
              </a:rPr>
              <a:t>·       ОАО "</a:t>
            </a:r>
            <a:r>
              <a:rPr lang="ru-RU" sz="1150" dirty="0" err="1">
                <a:latin typeface="+mj-lt"/>
              </a:rPr>
              <a:t>АльфаСтрахование</a:t>
            </a:r>
            <a:r>
              <a:rPr lang="ru-RU" sz="1150" dirty="0">
                <a:latin typeface="+mj-lt"/>
              </a:rPr>
              <a:t>", ОАО "Военно-страховая компания", ОАО "Русское перестраховочное общество", ОСАО "</a:t>
            </a:r>
            <a:r>
              <a:rPr lang="ru-RU" sz="1150" dirty="0" err="1">
                <a:latin typeface="+mj-lt"/>
              </a:rPr>
              <a:t>Ингосстрах</a:t>
            </a:r>
            <a:r>
              <a:rPr lang="ru-RU" sz="1150" dirty="0">
                <a:latin typeface="+mj-lt"/>
              </a:rPr>
              <a:t>", ЗАО "</a:t>
            </a:r>
            <a:r>
              <a:rPr lang="ru-RU" sz="1150" dirty="0" err="1">
                <a:latin typeface="+mj-lt"/>
              </a:rPr>
              <a:t>КапиталЪ</a:t>
            </a:r>
            <a:r>
              <a:rPr lang="ru-RU" sz="1150" dirty="0">
                <a:latin typeface="+mj-lt"/>
              </a:rPr>
              <a:t> Перестрахование", ООО "Московское перестраховочное общество", СОАО "Национальная Страховая Группа", ЗАО "Страховая группа "УралСиб", ОСАО «Россия», ОАО «</a:t>
            </a:r>
            <a:r>
              <a:rPr lang="ru-RU" sz="1150" dirty="0" err="1">
                <a:latin typeface="+mj-lt"/>
              </a:rPr>
              <a:t>Росгострах</a:t>
            </a:r>
            <a:r>
              <a:rPr lang="ru-RU" sz="1150" dirty="0">
                <a:latin typeface="+mj-lt"/>
              </a:rPr>
              <a:t>», ООО "Ренессанс Перестрахование", ОАО «СОГАЗ», ЗАО САО "Гефест", ОАО "САК "</a:t>
            </a:r>
            <a:r>
              <a:rPr lang="ru-RU" sz="1150" dirty="0" err="1">
                <a:latin typeface="+mj-lt"/>
              </a:rPr>
              <a:t>Энергогарант</a:t>
            </a:r>
            <a:r>
              <a:rPr lang="ru-RU" sz="1150" dirty="0">
                <a:latin typeface="+mj-lt"/>
              </a:rPr>
              <a:t>", ОАО «ГСК «</a:t>
            </a:r>
            <a:r>
              <a:rPr lang="ru-RU" sz="1150" dirty="0" err="1">
                <a:latin typeface="+mj-lt"/>
              </a:rPr>
              <a:t>Югория</a:t>
            </a:r>
            <a:r>
              <a:rPr lang="ru-RU" sz="1150" dirty="0">
                <a:latin typeface="+mj-lt"/>
              </a:rPr>
              <a:t>», ЗАО ПК «Волга» и др. </a:t>
            </a:r>
          </a:p>
          <a:p>
            <a:pPr>
              <a:defRPr/>
            </a:pPr>
            <a:r>
              <a:rPr lang="ru-RU" sz="1150" dirty="0">
                <a:latin typeface="+mj-lt"/>
              </a:rPr>
              <a:t> </a:t>
            </a:r>
            <a:r>
              <a:rPr lang="ru-RU" sz="1150" b="1" dirty="0">
                <a:latin typeface="+mj-lt"/>
              </a:rPr>
              <a:t>Серьезный уровень надежности.</a:t>
            </a:r>
            <a:endParaRPr lang="ru-RU" sz="1150" b="1" dirty="0">
              <a:latin typeface="+mj-lt"/>
            </a:endParaRPr>
          </a:p>
          <a:p>
            <a:pPr>
              <a:defRPr/>
            </a:pPr>
            <a:r>
              <a:rPr lang="ru-RU" sz="1150" dirty="0">
                <a:latin typeface="+mj-lt"/>
              </a:rPr>
              <a:t>    В декабре 2010 года Национальным рейтинговым агентством </a:t>
            </a:r>
            <a:r>
              <a:rPr lang="ru-RU" sz="1150" dirty="0">
                <a:latin typeface="+mj-lt"/>
              </a:rPr>
              <a:t> (НРА) Компании </a:t>
            </a:r>
            <a:r>
              <a:rPr lang="ru-RU" sz="1150" dirty="0">
                <a:latin typeface="+mj-lt"/>
              </a:rPr>
              <a:t>был присвоен  индивидуальный рейтинг надежности ВВВ (достаточная надежность, второй уровень)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Схема 5"/>
          <p:cNvGraphicFramePr/>
          <p:nvPr/>
        </p:nvGraphicFramePr>
        <p:xfrm>
          <a:off x="-142876" y="571480"/>
          <a:ext cx="9501222" cy="47863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23554" name="Rectangle 29"/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gray">
          <a:xfrm>
            <a:off x="285750" y="214313"/>
            <a:ext cx="5870575" cy="571500"/>
          </a:xfrm>
          <a:prstGeom prst="rect">
            <a:avLst/>
          </a:prstGeom>
          <a:solidFill>
            <a:srgbClr val="F3EEEF"/>
          </a:solidFill>
          <a:ln w="9525" algn="ctr">
            <a:noFill/>
            <a:miter lim="800000"/>
            <a:headEnd/>
            <a:tailEnd/>
          </a:ln>
        </p:spPr>
        <p:txBody>
          <a:bodyPr lIns="108000" tIns="36000" rIns="36000" bIns="36000" anchor="ctr"/>
          <a:lstStyle/>
          <a:p>
            <a:pPr algn="ctr" defTabSz="784225"/>
            <a:r>
              <a:rPr lang="ru-RU" sz="2000">
                <a:solidFill>
                  <a:schemeClr val="tx2"/>
                </a:solidFill>
              </a:rPr>
              <a:t>Страхование транспортных средств (КАСКО)</a:t>
            </a:r>
          </a:p>
        </p:txBody>
      </p:sp>
      <p:sp>
        <p:nvSpPr>
          <p:cNvPr id="4" name="Rectangle 29"/>
          <p:cNvSpPr>
            <a:spLocks noGrp="1" noChangeArrowheads="1"/>
          </p:cNvSpPr>
          <p:nvPr>
            <p:custDataLst>
              <p:tags r:id="rId2"/>
            </p:custDataLst>
          </p:nvPr>
        </p:nvSpPr>
        <p:spPr bwMode="gray">
          <a:xfrm>
            <a:off x="357158" y="857232"/>
            <a:ext cx="8715435" cy="35719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08000" tIns="36000" rIns="36000" bIns="36000"/>
          <a:lstStyle/>
          <a:p>
            <a:pPr algn="ctr" defTabSz="784225">
              <a:defRPr/>
            </a:pPr>
            <a:r>
              <a:rPr lang="ru-RU" sz="1600" b="1" u="sng" dirty="0"/>
              <a:t>Преимущества</a:t>
            </a:r>
            <a:r>
              <a:rPr lang="en-US" sz="1600" b="1" u="sng" dirty="0"/>
              <a:t> </a:t>
            </a:r>
            <a:r>
              <a:rPr lang="ru-RU" sz="1600" b="1" u="sng" dirty="0"/>
              <a:t>КАСКО в </a:t>
            </a:r>
            <a:r>
              <a:rPr lang="ru-RU" sz="1600" b="1" u="sng" dirty="0" err="1"/>
              <a:t>РК-гарант</a:t>
            </a:r>
            <a:endParaRPr lang="ru-RU" sz="1600" b="1" u="sng" dirty="0">
              <a:solidFill>
                <a:schemeClr val="tx2"/>
              </a:solidFill>
              <a:ea typeface="MS PGothic" pitchFamily="34" charset="-128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214313" y="5164138"/>
          <a:ext cx="8786812" cy="1050925"/>
        </p:xfrm>
        <a:graphic>
          <a:graphicData uri="http://schemas.openxmlformats.org/drawingml/2006/table">
            <a:tbl>
              <a:tblPr/>
              <a:tblGrid>
                <a:gridCol w="1857388"/>
                <a:gridCol w="2240753"/>
                <a:gridCol w="2592848"/>
                <a:gridCol w="2095885"/>
              </a:tblGrid>
              <a:tr h="11851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Услуги</a:t>
                      </a:r>
                    </a:p>
                  </a:txBody>
                  <a:tcPr marL="7483" marR="7483" marT="74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FFFFFF"/>
                          </a:solidFill>
                          <a:latin typeface="Calibri"/>
                        </a:rPr>
                        <a:t>Сервисная программа</a:t>
                      </a:r>
                    </a:p>
                  </a:txBody>
                  <a:tcPr marL="7483" marR="7483" marT="748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602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FFFFFF"/>
                          </a:solidFill>
                          <a:latin typeface="Times New Roman"/>
                        </a:rPr>
                        <a:t>«Стандарт»</a:t>
                      </a:r>
                    </a:p>
                  </a:txBody>
                  <a:tcPr marL="7483" marR="7483" marT="74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FFFFFF"/>
                          </a:solidFill>
                          <a:latin typeface="Times New Roman"/>
                        </a:rPr>
                        <a:t>«ПРЕМИУМ» </a:t>
                      </a:r>
                    </a:p>
                  </a:txBody>
                  <a:tcPr marL="7483" marR="7483" marT="74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1" i="0" u="none" strike="noStrike">
                          <a:solidFill>
                            <a:srgbClr val="FFFFFF"/>
                          </a:solidFill>
                          <a:latin typeface="Times New Roman"/>
                        </a:rPr>
                        <a:t>«VIP» </a:t>
                      </a:r>
                    </a:p>
                  </a:txBody>
                  <a:tcPr marL="7483" marR="7483" marT="74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</a:tr>
              <a:tr h="118514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Эвакуация ТС</a:t>
                      </a:r>
                    </a:p>
                  </a:txBody>
                  <a:tcPr marL="7483" marR="7483" marT="748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да (неограниченно)</a:t>
                      </a:r>
                    </a:p>
                  </a:txBody>
                  <a:tcPr marL="7483" marR="7483" marT="74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да (неограниченно)</a:t>
                      </a:r>
                    </a:p>
                  </a:txBody>
                  <a:tcPr marL="7483" marR="7483" marT="74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да (неограниченно)</a:t>
                      </a:r>
                    </a:p>
                  </a:txBody>
                  <a:tcPr marL="7483" marR="7483" marT="74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0006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Телефонная консультация со специалистом компании (24 часа)</a:t>
                      </a:r>
                    </a:p>
                  </a:txBody>
                  <a:tcPr marL="7483" marR="7483" marT="74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да (неограниченно)</a:t>
                      </a:r>
                    </a:p>
                  </a:txBody>
                  <a:tcPr marL="7483" marR="7483" marT="74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да (неограниченно)</a:t>
                      </a:r>
                    </a:p>
                  </a:txBody>
                  <a:tcPr marL="7483" marR="7483" marT="74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да (неограниченно)</a:t>
                      </a:r>
                    </a:p>
                  </a:txBody>
                  <a:tcPr marL="7483" marR="7483" marT="74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2504"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Аварийный комиссар (выезд на место ДТП, сбор справок)</a:t>
                      </a:r>
                    </a:p>
                  </a:txBody>
                  <a:tcPr marL="7483" marR="7483" marT="748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нет</a:t>
                      </a:r>
                    </a:p>
                  </a:txBody>
                  <a:tcPr marL="7483" marR="7483" marT="74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да (два раза за срок страхования)</a:t>
                      </a:r>
                    </a:p>
                  </a:txBody>
                  <a:tcPr marL="7483" marR="7483" marT="74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да (неограниченно)</a:t>
                      </a:r>
                    </a:p>
                  </a:txBody>
                  <a:tcPr marL="7483" marR="7483" marT="748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3587" name="TextBox 8"/>
          <p:cNvSpPr txBox="1">
            <a:spLocks noChangeArrowheads="1"/>
          </p:cNvSpPr>
          <p:nvPr/>
        </p:nvSpPr>
        <p:spPr bwMode="auto">
          <a:xfrm>
            <a:off x="8386763" y="4906963"/>
            <a:ext cx="6858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400"/>
              <a:t>Таб. 1</a:t>
            </a:r>
          </a:p>
        </p:txBody>
      </p:sp>
      <p:sp>
        <p:nvSpPr>
          <p:cNvPr id="23588" name="TextBox 9"/>
          <p:cNvSpPr txBox="1">
            <a:spLocks noChangeArrowheads="1"/>
          </p:cNvSpPr>
          <p:nvPr/>
        </p:nvSpPr>
        <p:spPr bwMode="auto">
          <a:xfrm>
            <a:off x="214313" y="6286500"/>
            <a:ext cx="8786812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>
                <a:solidFill>
                  <a:srgbClr val="FF0000"/>
                </a:solidFill>
              </a:rPr>
              <a:t>Внимание Акция! С 01 февраля по 30 апреля клиент получает 1 месяц страхования в подарок! </a:t>
            </a:r>
          </a:p>
          <a:p>
            <a:pPr algn="ctr"/>
            <a:r>
              <a:rPr lang="ru-RU" sz="1200" b="1">
                <a:solidFill>
                  <a:srgbClr val="FF0000"/>
                </a:solidFill>
              </a:rPr>
              <a:t>При оплате годового полиса договор действует 13 месяцев!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Rectangle 29"/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gray">
          <a:xfrm>
            <a:off x="285750" y="214313"/>
            <a:ext cx="5870575" cy="571500"/>
          </a:xfrm>
          <a:prstGeom prst="rect">
            <a:avLst/>
          </a:prstGeom>
          <a:solidFill>
            <a:srgbClr val="F3EEEF"/>
          </a:solidFill>
          <a:ln w="9525" algn="ctr">
            <a:noFill/>
            <a:miter lim="800000"/>
            <a:headEnd/>
            <a:tailEnd/>
          </a:ln>
        </p:spPr>
        <p:txBody>
          <a:bodyPr lIns="108000" tIns="36000" rIns="36000" bIns="36000" anchor="ctr"/>
          <a:lstStyle/>
          <a:p>
            <a:pPr algn="ctr" defTabSz="784225"/>
            <a:r>
              <a:rPr lang="ru-RU" sz="2000">
                <a:solidFill>
                  <a:schemeClr val="tx2"/>
                </a:solidFill>
              </a:rPr>
              <a:t>Специальная акция КАСКО+1месяц в подарок! </a:t>
            </a:r>
          </a:p>
        </p:txBody>
      </p:sp>
      <p:sp>
        <p:nvSpPr>
          <p:cNvPr id="4" name="Rectangle 29"/>
          <p:cNvSpPr>
            <a:spLocks noGrp="1" noChangeArrowheads="1"/>
          </p:cNvSpPr>
          <p:nvPr>
            <p:custDataLst>
              <p:tags r:id="rId2"/>
            </p:custDataLst>
          </p:nvPr>
        </p:nvSpPr>
        <p:spPr bwMode="gray">
          <a:xfrm>
            <a:off x="357159" y="857232"/>
            <a:ext cx="8643998" cy="35719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08000" tIns="36000" rIns="36000" bIns="36000"/>
          <a:lstStyle/>
          <a:p>
            <a:pPr algn="ctr" defTabSz="784225">
              <a:defRPr/>
            </a:pPr>
            <a:r>
              <a:rPr lang="ru-RU" sz="1600" b="1" u="sng" dirty="0">
                <a:solidFill>
                  <a:schemeClr val="bg1"/>
                </a:solidFill>
                <a:ea typeface="MS PGothic" pitchFamily="34" charset="-128"/>
              </a:rPr>
              <a:t>ВНИМАНИЕ!!!</a:t>
            </a:r>
            <a:endParaRPr lang="ru-RU" sz="1600" b="1" u="sng" dirty="0">
              <a:solidFill>
                <a:schemeClr val="bg1"/>
              </a:solidFill>
              <a:ea typeface="MS PGothic" pitchFamily="34" charset="-128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57158" y="1357298"/>
            <a:ext cx="8572560" cy="5078313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>
              <a:defRPr/>
            </a:pPr>
            <a:r>
              <a:rPr lang="ru-RU" dirty="0"/>
              <a:t>Каждому клиенту, заключившему договор страхования </a:t>
            </a:r>
            <a:r>
              <a:rPr lang="ru-RU" b="1" dirty="0"/>
              <a:t>ЗАО "</a:t>
            </a:r>
            <a:r>
              <a:rPr lang="ru-RU" b="1" dirty="0" err="1"/>
              <a:t>РК-гарант</a:t>
            </a:r>
            <a:r>
              <a:rPr lang="ru-RU" b="1" dirty="0"/>
              <a:t>" дарит </a:t>
            </a:r>
            <a:r>
              <a:rPr lang="ru-RU" dirty="0"/>
              <a:t>один </a:t>
            </a:r>
            <a:r>
              <a:rPr lang="ru-RU" b="1" dirty="0"/>
              <a:t>месяц страховой защиты </a:t>
            </a:r>
            <a:r>
              <a:rPr lang="ru-RU" dirty="0"/>
              <a:t>в подарок!</a:t>
            </a:r>
          </a:p>
          <a:p>
            <a:pPr>
              <a:defRPr/>
            </a:pPr>
            <a:r>
              <a:rPr lang="ru-RU" dirty="0"/>
              <a:t>При приобретении </a:t>
            </a:r>
            <a:r>
              <a:rPr lang="ru-RU" b="1" dirty="0"/>
              <a:t>КАСКО</a:t>
            </a:r>
            <a:r>
              <a:rPr lang="ru-RU" dirty="0"/>
              <a:t> в этот период, срок действия Вашего полиса </a:t>
            </a:r>
            <a:r>
              <a:rPr lang="ru-RU" b="1" dirty="0"/>
              <a:t>увеличивается на ОДИН МЕСЯЦ</a:t>
            </a:r>
            <a:r>
              <a:rPr lang="ru-RU" dirty="0"/>
              <a:t>! </a:t>
            </a:r>
          </a:p>
          <a:p>
            <a:pPr>
              <a:defRPr/>
            </a:pPr>
            <a:r>
              <a:rPr lang="ru-RU" dirty="0"/>
              <a:t>Т.е. срок договора страхования – 13 месяцев! </a:t>
            </a:r>
          </a:p>
          <a:p>
            <a:pPr>
              <a:defRPr/>
            </a:pPr>
            <a:r>
              <a:rPr lang="ru-RU" dirty="0"/>
              <a:t>Платите за 12 месяцев, а страховую защиту получаете на один год и один месяц!  </a:t>
            </a:r>
          </a:p>
          <a:p>
            <a:pPr>
              <a:defRPr/>
            </a:pPr>
            <a:endParaRPr lang="ru-RU" b="1" dirty="0"/>
          </a:p>
          <a:p>
            <a:pPr algn="ctr">
              <a:defRPr/>
            </a:pPr>
            <a:r>
              <a:rPr lang="ru-RU" sz="7200" b="1" dirty="0"/>
              <a:t>                           </a:t>
            </a:r>
            <a:r>
              <a:rPr lang="ru-RU" sz="7200" b="1" dirty="0">
                <a:solidFill>
                  <a:srgbClr val="C00000"/>
                </a:solidFill>
              </a:rPr>
              <a:t>13!</a:t>
            </a:r>
          </a:p>
          <a:p>
            <a:pPr algn="r">
              <a:defRPr/>
            </a:pPr>
            <a:r>
              <a:rPr lang="ru-RU" b="1" dirty="0"/>
              <a:t>					Срок страхования по акции</a:t>
            </a:r>
            <a:r>
              <a:rPr lang="ru-RU" dirty="0"/>
              <a:t>: </a:t>
            </a:r>
          </a:p>
          <a:p>
            <a:pPr algn="r">
              <a:defRPr/>
            </a:pPr>
            <a:r>
              <a:rPr lang="ru-RU" dirty="0"/>
              <a:t>1 год + 1 месяц.</a:t>
            </a:r>
          </a:p>
          <a:p>
            <a:pPr algn="r">
              <a:defRPr/>
            </a:pPr>
            <a:r>
              <a:rPr lang="ru-RU" b="1" dirty="0"/>
              <a:t>Условия страхования</a:t>
            </a:r>
            <a:r>
              <a:rPr lang="ru-RU" dirty="0"/>
              <a:t>:</a:t>
            </a:r>
          </a:p>
          <a:p>
            <a:pPr algn="r">
              <a:defRPr/>
            </a:pPr>
            <a:r>
              <a:rPr lang="ru-RU" dirty="0"/>
              <a:t>Стандартные условия по продукту КАСКО. </a:t>
            </a:r>
          </a:p>
          <a:p>
            <a:pPr algn="r">
              <a:defRPr/>
            </a:pPr>
            <a:r>
              <a:rPr lang="ru-RU" b="1" dirty="0"/>
              <a:t>Срок проведения акции</a:t>
            </a:r>
            <a:r>
              <a:rPr lang="ru-RU" dirty="0"/>
              <a:t>:</a:t>
            </a:r>
          </a:p>
          <a:p>
            <a:pPr algn="r">
              <a:defRPr/>
            </a:pPr>
            <a:r>
              <a:rPr lang="ru-RU" dirty="0"/>
              <a:t> с 01 февраля по 30 апреля 2011 года.</a:t>
            </a:r>
            <a:endParaRPr lang="ru-RU" dirty="0"/>
          </a:p>
        </p:txBody>
      </p:sp>
      <p:pic>
        <p:nvPicPr>
          <p:cNvPr id="24582" name="Picture 9" descr="Картинка 12 из 64000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000625" y="3643313"/>
            <a:ext cx="1476375" cy="976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583" name="Рисунок 12" descr="3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557213" y="3152775"/>
            <a:ext cx="3300412" cy="206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Плюс 13"/>
          <p:cNvSpPr/>
          <p:nvPr/>
        </p:nvSpPr>
        <p:spPr>
          <a:xfrm>
            <a:off x="4000496" y="3643314"/>
            <a:ext cx="914400" cy="914400"/>
          </a:xfrm>
          <a:prstGeom prst="mathPlus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" name="Равно 14"/>
          <p:cNvSpPr/>
          <p:nvPr/>
        </p:nvSpPr>
        <p:spPr>
          <a:xfrm>
            <a:off x="6500826" y="3714752"/>
            <a:ext cx="914400" cy="914400"/>
          </a:xfrm>
          <a:prstGeom prst="mathEqual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Схема 28"/>
          <p:cNvGraphicFramePr/>
          <p:nvPr/>
        </p:nvGraphicFramePr>
        <p:xfrm>
          <a:off x="357158" y="4468834"/>
          <a:ext cx="8572560" cy="21034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cxnSp>
        <p:nvCxnSpPr>
          <p:cNvPr id="23" name="Прямая соединительная линия 22"/>
          <p:cNvCxnSpPr/>
          <p:nvPr/>
        </p:nvCxnSpPr>
        <p:spPr>
          <a:xfrm rot="5400000">
            <a:off x="3144044" y="3856832"/>
            <a:ext cx="428625" cy="1587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 rot="5400000">
            <a:off x="5501481" y="3856832"/>
            <a:ext cx="428625" cy="1588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 rot="5400000">
            <a:off x="7716044" y="3856832"/>
            <a:ext cx="428625" cy="1587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 rot="5400000">
            <a:off x="999331" y="3856832"/>
            <a:ext cx="428625" cy="1588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06" name="Rectangle 29"/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gray">
          <a:xfrm>
            <a:off x="285750" y="214313"/>
            <a:ext cx="5870575" cy="571500"/>
          </a:xfrm>
          <a:prstGeom prst="rect">
            <a:avLst/>
          </a:prstGeom>
          <a:solidFill>
            <a:srgbClr val="F3EEEF"/>
          </a:solidFill>
          <a:ln w="9525" algn="ctr">
            <a:noFill/>
            <a:miter lim="800000"/>
            <a:headEnd/>
            <a:tailEnd/>
          </a:ln>
        </p:spPr>
        <p:txBody>
          <a:bodyPr lIns="108000" tIns="36000" rIns="36000" bIns="36000" anchor="ctr"/>
          <a:lstStyle/>
          <a:p>
            <a:pPr algn="ctr" defTabSz="784225"/>
            <a:r>
              <a:rPr lang="ru-RU" sz="2000">
                <a:solidFill>
                  <a:schemeClr val="tx2"/>
                </a:solidFill>
              </a:rPr>
              <a:t>Страхование квартир, дач и загородных домов</a:t>
            </a:r>
          </a:p>
          <a:p>
            <a:pPr algn="ctr" defTabSz="784225"/>
            <a:r>
              <a:rPr lang="ru-RU" sz="2000">
                <a:solidFill>
                  <a:schemeClr val="tx2"/>
                </a:solidFill>
              </a:rPr>
              <a:t>(страхование имущества физических лиц)</a:t>
            </a:r>
          </a:p>
        </p:txBody>
      </p:sp>
      <p:sp>
        <p:nvSpPr>
          <p:cNvPr id="5" name="Rectangle 29"/>
          <p:cNvSpPr>
            <a:spLocks noGrp="1" noChangeArrowheads="1"/>
          </p:cNvSpPr>
          <p:nvPr>
            <p:custDataLst>
              <p:tags r:id="rId2"/>
            </p:custDataLst>
          </p:nvPr>
        </p:nvSpPr>
        <p:spPr bwMode="gray">
          <a:xfrm>
            <a:off x="285720" y="857232"/>
            <a:ext cx="8643997" cy="35719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08000" tIns="36000" rIns="36000" bIns="36000"/>
          <a:lstStyle/>
          <a:p>
            <a:pPr algn="ctr">
              <a:defRPr/>
            </a:pPr>
            <a:r>
              <a:rPr lang="ru-RU" sz="1500" dirty="0"/>
              <a:t>Особенности страхования имущества физических лиц в </a:t>
            </a:r>
            <a:r>
              <a:rPr lang="ru-RU" sz="1500" dirty="0" err="1"/>
              <a:t>РК-гарант</a:t>
            </a:r>
            <a:endParaRPr lang="ru-RU" sz="1500" dirty="0"/>
          </a:p>
        </p:txBody>
      </p:sp>
      <p:sp>
        <p:nvSpPr>
          <p:cNvPr id="25610" name="TextBox 8"/>
          <p:cNvSpPr txBox="1">
            <a:spLocks noChangeArrowheads="1"/>
          </p:cNvSpPr>
          <p:nvPr/>
        </p:nvSpPr>
        <p:spPr bwMode="auto">
          <a:xfrm>
            <a:off x="285750" y="1285875"/>
            <a:ext cx="523875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b="1" u="sng"/>
              <a:t>Имущество, принимаемое на страхование: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1214438" y="4071938"/>
            <a:ext cx="6715125" cy="1587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Стрелка вниз 29"/>
          <p:cNvSpPr/>
          <p:nvPr/>
        </p:nvSpPr>
        <p:spPr>
          <a:xfrm>
            <a:off x="3571868" y="4071942"/>
            <a:ext cx="785818" cy="357190"/>
          </a:xfrm>
          <a:prstGeom prst="down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1" name="Стрелка вниз 30"/>
          <p:cNvSpPr/>
          <p:nvPr/>
        </p:nvSpPr>
        <p:spPr>
          <a:xfrm>
            <a:off x="5000628" y="4071942"/>
            <a:ext cx="785818" cy="357190"/>
          </a:xfrm>
          <a:prstGeom prst="downArrow">
            <a:avLst/>
          </a:prstGeom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aphicFrame>
        <p:nvGraphicFramePr>
          <p:cNvPr id="10" name="Схема 9"/>
          <p:cNvGraphicFramePr/>
          <p:nvPr/>
        </p:nvGraphicFramePr>
        <p:xfrm>
          <a:off x="285720" y="1571612"/>
          <a:ext cx="8643998" cy="2349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25619" name="TextBox 31"/>
          <p:cNvSpPr txBox="1">
            <a:spLocks noChangeArrowheads="1"/>
          </p:cNvSpPr>
          <p:nvPr/>
        </p:nvSpPr>
        <p:spPr bwMode="auto">
          <a:xfrm>
            <a:off x="271463" y="4071938"/>
            <a:ext cx="294322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b="1" u="sng"/>
              <a:t>Варианты страхования: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Rectangle 29"/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gray">
          <a:xfrm>
            <a:off x="466725" y="214313"/>
            <a:ext cx="5689600" cy="714375"/>
          </a:xfrm>
          <a:prstGeom prst="rect">
            <a:avLst/>
          </a:prstGeom>
          <a:solidFill>
            <a:srgbClr val="F3EEEF"/>
          </a:solidFill>
          <a:ln w="9525" algn="ctr">
            <a:noFill/>
            <a:miter lim="800000"/>
            <a:headEnd/>
            <a:tailEnd/>
          </a:ln>
        </p:spPr>
        <p:txBody>
          <a:bodyPr lIns="108000" tIns="36000" rIns="36000" bIns="36000"/>
          <a:lstStyle/>
          <a:p>
            <a:pPr algn="ctr" defTabSz="784225"/>
            <a:r>
              <a:rPr lang="ru-RU" sz="2000">
                <a:solidFill>
                  <a:schemeClr val="tx2"/>
                </a:solidFill>
              </a:rPr>
              <a:t>Страхование имущества от огня и других опасностей</a:t>
            </a:r>
          </a:p>
        </p:txBody>
      </p:sp>
      <p:sp>
        <p:nvSpPr>
          <p:cNvPr id="4" name="Rectangle 29"/>
          <p:cNvSpPr>
            <a:spLocks noGrp="1" noChangeArrowheads="1"/>
          </p:cNvSpPr>
          <p:nvPr>
            <p:custDataLst>
              <p:tags r:id="rId2"/>
            </p:custDataLst>
          </p:nvPr>
        </p:nvSpPr>
        <p:spPr bwMode="gray">
          <a:xfrm>
            <a:off x="500034" y="1000108"/>
            <a:ext cx="8358246" cy="35719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08000" tIns="36000" rIns="36000" bIns="36000"/>
          <a:lstStyle/>
          <a:p>
            <a:pPr algn="ctr">
              <a:defRPr/>
            </a:pPr>
            <a:r>
              <a:rPr lang="ru-RU" sz="1600" b="1" u="sng" dirty="0"/>
              <a:t>Комплексная страховая защита</a:t>
            </a:r>
            <a:endParaRPr lang="ru-RU" sz="1600" dirty="0"/>
          </a:p>
        </p:txBody>
      </p:sp>
      <p:graphicFrame>
        <p:nvGraphicFramePr>
          <p:cNvPr id="5" name="Схема 4"/>
          <p:cNvGraphicFramePr/>
          <p:nvPr/>
        </p:nvGraphicFramePr>
        <p:xfrm>
          <a:off x="500034" y="1397000"/>
          <a:ext cx="8358246" cy="51038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TextBox 2"/>
          <p:cNvSpPr txBox="1">
            <a:spLocks noChangeArrowheads="1"/>
          </p:cNvSpPr>
          <p:nvPr/>
        </p:nvSpPr>
        <p:spPr bwMode="auto">
          <a:xfrm>
            <a:off x="214313" y="857250"/>
            <a:ext cx="8715375" cy="5970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sz="1000" b="1"/>
          </a:p>
          <a:p>
            <a:endParaRPr lang="ru-RU" sz="1400" b="1"/>
          </a:p>
          <a:p>
            <a:r>
              <a:rPr lang="ru-RU" sz="1400" b="1"/>
              <a:t> </a:t>
            </a:r>
            <a:r>
              <a:rPr lang="ru-RU" sz="1400" b="1" u="sng"/>
              <a:t>Условия страхования:</a:t>
            </a:r>
          </a:p>
          <a:p>
            <a:endParaRPr lang="ru-RU" sz="1400" b="1"/>
          </a:p>
          <a:p>
            <a:endParaRPr lang="ru-RU" sz="1000" b="1"/>
          </a:p>
          <a:p>
            <a:endParaRPr lang="ru-RU" sz="1000" b="1"/>
          </a:p>
          <a:p>
            <a:endParaRPr lang="ru-RU" sz="1000" b="1"/>
          </a:p>
          <a:p>
            <a:endParaRPr lang="ru-RU" sz="1000" b="1"/>
          </a:p>
          <a:p>
            <a:endParaRPr lang="ru-RU" sz="1000" b="1"/>
          </a:p>
          <a:p>
            <a:endParaRPr lang="ru-RU" sz="1000" b="1"/>
          </a:p>
          <a:p>
            <a:endParaRPr lang="ru-RU" sz="1000" b="1"/>
          </a:p>
          <a:p>
            <a:endParaRPr lang="ru-RU" sz="1000" b="1"/>
          </a:p>
          <a:p>
            <a:endParaRPr lang="ru-RU" sz="1000" b="1"/>
          </a:p>
          <a:p>
            <a:endParaRPr lang="ru-RU" sz="1000" b="1"/>
          </a:p>
          <a:p>
            <a:endParaRPr lang="ru-RU" sz="1000" b="1"/>
          </a:p>
          <a:p>
            <a:endParaRPr lang="ru-RU" sz="1000" b="1"/>
          </a:p>
          <a:p>
            <a:endParaRPr lang="ru-RU" sz="1000" b="1"/>
          </a:p>
          <a:p>
            <a:endParaRPr lang="ru-RU" sz="1000" b="1"/>
          </a:p>
          <a:p>
            <a:endParaRPr lang="ru-RU" sz="1000" b="1"/>
          </a:p>
          <a:p>
            <a:endParaRPr lang="ru-RU" sz="1000" b="1"/>
          </a:p>
          <a:p>
            <a:endParaRPr lang="ru-RU" sz="1000" b="1"/>
          </a:p>
          <a:p>
            <a:endParaRPr lang="ru-RU" sz="1000" b="1"/>
          </a:p>
          <a:p>
            <a:endParaRPr lang="ru-RU" sz="1000" b="1"/>
          </a:p>
          <a:p>
            <a:endParaRPr lang="ru-RU" sz="1000" b="1"/>
          </a:p>
          <a:p>
            <a:endParaRPr lang="ru-RU" sz="1000"/>
          </a:p>
          <a:p>
            <a:endParaRPr lang="ru-RU" sz="1000"/>
          </a:p>
          <a:p>
            <a:r>
              <a:rPr lang="ru-RU" sz="1000" b="1" u="sng"/>
              <a:t>Дополнительные преимущества страхования грузов в РК-гарант:</a:t>
            </a:r>
          </a:p>
          <a:p>
            <a:pPr>
              <a:buClr>
                <a:srgbClr val="008000"/>
              </a:buClr>
              <a:buFont typeface="Wingdings" pitchFamily="2" charset="2"/>
              <a:buChar char="q"/>
            </a:pPr>
            <a:r>
              <a:rPr lang="ru-RU" sz="1000" b="1"/>
              <a:t> «РК-гарант»</a:t>
            </a:r>
            <a:r>
              <a:rPr lang="ru-RU" sz="1000"/>
              <a:t> возмещает расходы по спасению груза и уменьшению убытка (в т.ч. расходы по перегрузке, временному складированию груза, дополнительные расходы по его дальнейшей перевозке и т.п.).</a:t>
            </a:r>
          </a:p>
          <a:p>
            <a:pPr>
              <a:buClr>
                <a:srgbClr val="008000"/>
              </a:buClr>
              <a:buFont typeface="Wingdings" pitchFamily="2" charset="2"/>
              <a:buChar char="q"/>
            </a:pPr>
            <a:r>
              <a:rPr lang="ru-RU" sz="1000"/>
              <a:t>  По договору о страхования ущерб возмещается в пределах лимитов ответственности, которые устанавливаются  на  один  страховой случай и на срок действия договора страхования.</a:t>
            </a:r>
          </a:p>
          <a:p>
            <a:pPr>
              <a:buClr>
                <a:srgbClr val="008000"/>
              </a:buClr>
              <a:buFont typeface="Wingdings" pitchFamily="2" charset="2"/>
              <a:buChar char="q"/>
            </a:pPr>
            <a:r>
              <a:rPr lang="ru-RU" sz="1000"/>
              <a:t>  Договор о страховании грузов заключается на каждую перевозку (доставку) или заключается генеральный договор по перевозке любых грузов сроком до одного года.</a:t>
            </a:r>
          </a:p>
          <a:p>
            <a:pPr>
              <a:buClr>
                <a:srgbClr val="008000"/>
              </a:buClr>
              <a:buFont typeface="Wingdings" pitchFamily="2" charset="2"/>
              <a:buChar char="q"/>
            </a:pPr>
            <a:r>
              <a:rPr lang="ru-RU" sz="1000"/>
              <a:t>  Договор о страховании грузов может быть заключен на условиях «от двери до двери».</a:t>
            </a:r>
          </a:p>
          <a:p>
            <a:pPr>
              <a:buClr>
                <a:srgbClr val="008000"/>
              </a:buClr>
              <a:buFont typeface="Wingdings" pitchFamily="2" charset="2"/>
              <a:buChar char="q"/>
            </a:pPr>
            <a:r>
              <a:rPr lang="ru-RU" sz="1000"/>
              <a:t>  Договор страхования может заключаться как по месту нахождения отправляемого груза, так и по месту его получения.</a:t>
            </a:r>
          </a:p>
          <a:p>
            <a:endParaRPr lang="ru-RU" sz="1000"/>
          </a:p>
          <a:p>
            <a:r>
              <a:rPr lang="ru-RU" sz="1000" b="1">
                <a:solidFill>
                  <a:srgbClr val="FF0000"/>
                </a:solidFill>
              </a:rPr>
              <a:t>Крупные риски ЗАО СК “РК-гарант” перестраховывает в лучших российских и зарубежных перестраховочных  компаниях.</a:t>
            </a:r>
          </a:p>
        </p:txBody>
      </p:sp>
      <p:sp>
        <p:nvSpPr>
          <p:cNvPr id="27650" name="Rectangle 29"/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gray">
          <a:xfrm>
            <a:off x="285750" y="214313"/>
            <a:ext cx="5870575" cy="571500"/>
          </a:xfrm>
          <a:prstGeom prst="rect">
            <a:avLst/>
          </a:prstGeom>
          <a:solidFill>
            <a:srgbClr val="F3EEEF"/>
          </a:solidFill>
          <a:ln w="9525" algn="ctr">
            <a:noFill/>
            <a:miter lim="800000"/>
            <a:headEnd/>
            <a:tailEnd/>
          </a:ln>
        </p:spPr>
        <p:txBody>
          <a:bodyPr lIns="108000" tIns="36000" rIns="36000" bIns="36000" anchor="ctr"/>
          <a:lstStyle/>
          <a:p>
            <a:pPr algn="ctr" defTabSz="784225"/>
            <a:r>
              <a:rPr lang="ru-RU" sz="2000">
                <a:solidFill>
                  <a:schemeClr val="tx2"/>
                </a:solidFill>
              </a:rPr>
              <a:t>Страхование грузов</a:t>
            </a:r>
          </a:p>
        </p:txBody>
      </p:sp>
      <p:graphicFrame>
        <p:nvGraphicFramePr>
          <p:cNvPr id="4" name="Схема 3"/>
          <p:cNvGraphicFramePr/>
          <p:nvPr/>
        </p:nvGraphicFramePr>
        <p:xfrm>
          <a:off x="285720" y="1571612"/>
          <a:ext cx="8715436" cy="33575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5" name="Rectangle 29"/>
          <p:cNvSpPr>
            <a:spLocks noGrp="1" noChangeArrowheads="1"/>
          </p:cNvSpPr>
          <p:nvPr>
            <p:custDataLst>
              <p:tags r:id="rId2"/>
            </p:custDataLst>
          </p:nvPr>
        </p:nvSpPr>
        <p:spPr bwMode="gray">
          <a:xfrm>
            <a:off x="285720" y="857232"/>
            <a:ext cx="8643997" cy="357190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08000" tIns="36000" rIns="36000" bIns="36000"/>
          <a:lstStyle/>
          <a:p>
            <a:pPr algn="ctr">
              <a:defRPr/>
            </a:pPr>
            <a:r>
              <a:rPr lang="ru-RU" sz="1500" b="1" u="sng" dirty="0"/>
              <a:t>Объект страхования</a:t>
            </a:r>
            <a:r>
              <a:rPr lang="ru-RU" sz="1500" dirty="0"/>
              <a:t>: имущественные интересы Страхователя в отношении застрахованного груза</a:t>
            </a:r>
            <a:endParaRPr lang="ru-RU" sz="15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Rectangle 29"/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gray">
          <a:xfrm>
            <a:off x="466725" y="214313"/>
            <a:ext cx="5689600" cy="571500"/>
          </a:xfrm>
          <a:prstGeom prst="rect">
            <a:avLst/>
          </a:prstGeom>
          <a:solidFill>
            <a:srgbClr val="F3EEEF"/>
          </a:solidFill>
          <a:ln w="9525" algn="ctr">
            <a:noFill/>
            <a:miter lim="800000"/>
            <a:headEnd/>
            <a:tailEnd/>
          </a:ln>
        </p:spPr>
        <p:txBody>
          <a:bodyPr lIns="108000" tIns="36000" rIns="36000" bIns="36000" anchor="ctr"/>
          <a:lstStyle/>
          <a:p>
            <a:pPr algn="ctr" defTabSz="784225"/>
            <a:r>
              <a:rPr lang="ru-RU" sz="2000">
                <a:solidFill>
                  <a:schemeClr val="tx2"/>
                </a:solidFill>
              </a:rPr>
              <a:t>Страхование строительно-монтажных рисков</a:t>
            </a:r>
          </a:p>
        </p:txBody>
      </p:sp>
      <p:graphicFrame>
        <p:nvGraphicFramePr>
          <p:cNvPr id="4" name="Схема 3"/>
          <p:cNvGraphicFramePr/>
          <p:nvPr/>
        </p:nvGraphicFramePr>
        <p:xfrm>
          <a:off x="0" y="1000108"/>
          <a:ext cx="9286908" cy="56436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Rectangle 29"/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gray">
          <a:xfrm>
            <a:off x="466725" y="214313"/>
            <a:ext cx="5689600" cy="571500"/>
          </a:xfrm>
          <a:prstGeom prst="rect">
            <a:avLst/>
          </a:prstGeom>
          <a:solidFill>
            <a:srgbClr val="F3EEEF"/>
          </a:solidFill>
          <a:ln w="9525" algn="ctr">
            <a:noFill/>
            <a:miter lim="800000"/>
            <a:headEnd/>
            <a:tailEnd/>
          </a:ln>
        </p:spPr>
        <p:txBody>
          <a:bodyPr lIns="108000" tIns="36000" rIns="36000" bIns="36000" anchor="ctr"/>
          <a:lstStyle/>
          <a:p>
            <a:pPr algn="ctr" defTabSz="784225"/>
            <a:r>
              <a:rPr lang="ru-RU" sz="2000">
                <a:solidFill>
                  <a:schemeClr val="tx2"/>
                </a:solidFill>
              </a:rPr>
              <a:t>Страхование выезжающих за рубеж</a:t>
            </a:r>
          </a:p>
        </p:txBody>
      </p:sp>
      <p:sp>
        <p:nvSpPr>
          <p:cNvPr id="30722" name="TextBox 2"/>
          <p:cNvSpPr txBox="1">
            <a:spLocks noChangeArrowheads="1"/>
          </p:cNvSpPr>
          <p:nvPr/>
        </p:nvSpPr>
        <p:spPr bwMode="auto">
          <a:xfrm>
            <a:off x="500063" y="784225"/>
            <a:ext cx="8429625" cy="6002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00"/>
              <a:t>	Страхование расходов лиц, выезжающих за границу, является одним из приоритетных видов страхования в ЗАО «РК-гарант», который развивается в течение многих лет. За это время специалистами Компании накоплен огромный опыт как в предложении соответствующих услуг на страховом рынке, так и в области оказания неотложной помощи и урегулирования страховых случаев по всему миру. </a:t>
            </a:r>
            <a:endParaRPr lang="ru-RU" sz="1600" i="1"/>
          </a:p>
          <a:p>
            <a:pPr algn="ctr"/>
            <a:r>
              <a:rPr lang="ru-RU" sz="1600"/>
              <a:t>	</a:t>
            </a:r>
            <a:r>
              <a:rPr lang="ru-RU" sz="1600" b="1" u="sng">
                <a:solidFill>
                  <a:srgbClr val="FF0000"/>
                </a:solidFill>
              </a:rPr>
              <a:t>ЗАО «РК-гарант» имеет аккредитацию во всех консульских службах Посольств государств Шенгенского соглашения. </a:t>
            </a:r>
            <a:endParaRPr lang="ru-RU" sz="1600" b="1" i="1" u="sng">
              <a:solidFill>
                <a:srgbClr val="FF0000"/>
              </a:solidFill>
            </a:endParaRPr>
          </a:p>
          <a:p>
            <a:r>
              <a:rPr lang="ru-RU" sz="1600"/>
              <a:t>Страховые полисы, предоставляемые ЗАО «РК-гарант» имеют лимит ответственности (страхового покрытия) для страхования при поездках на территорию стран Шенгенского соглашения  30 000 ЕВРО (минимум) и обеспечивают предоставление следующих услуг:</a:t>
            </a:r>
            <a:endParaRPr lang="ru-RU" sz="1600" i="1"/>
          </a:p>
          <a:p>
            <a:pPr>
              <a:buFont typeface="Wingdings" pitchFamily="2" charset="2"/>
              <a:buChar char="q"/>
            </a:pPr>
            <a:r>
              <a:rPr lang="ru-RU" sz="1600"/>
              <a:t>- амбулаторная и стационарная медицинская помощь при внезапном заболевании, обострении хронического заболевания  или несчастном случае;</a:t>
            </a:r>
            <a:endParaRPr lang="ru-RU" sz="1600" i="1"/>
          </a:p>
          <a:p>
            <a:pPr>
              <a:buFont typeface="Wingdings" pitchFamily="2" charset="2"/>
              <a:buChar char="q"/>
            </a:pPr>
            <a:r>
              <a:rPr lang="ru-RU" sz="1600" i="1"/>
              <a:t>- </a:t>
            </a:r>
            <a:r>
              <a:rPr lang="ru-RU" sz="1600"/>
              <a:t>оплата медикаментов и перевязочных материалов;</a:t>
            </a:r>
            <a:endParaRPr lang="ru-RU" sz="1600" i="1"/>
          </a:p>
          <a:p>
            <a:pPr>
              <a:buFont typeface="Wingdings" pitchFamily="2" charset="2"/>
              <a:buChar char="q"/>
            </a:pPr>
            <a:r>
              <a:rPr lang="ru-RU" sz="1600" i="1"/>
              <a:t>- </a:t>
            </a:r>
            <a:r>
              <a:rPr lang="ru-RU" sz="1600"/>
              <a:t>стоматологическая помощь 200 ЕВРО;</a:t>
            </a:r>
            <a:endParaRPr lang="ru-RU" sz="1600" i="1"/>
          </a:p>
          <a:p>
            <a:pPr>
              <a:buFont typeface="Wingdings" pitchFamily="2" charset="2"/>
              <a:buChar char="q"/>
            </a:pPr>
            <a:r>
              <a:rPr lang="ru-RU" sz="1600"/>
              <a:t>- медицинская транспортировка в медицинское учреждение;</a:t>
            </a:r>
            <a:endParaRPr lang="ru-RU" sz="1600" i="1"/>
          </a:p>
          <a:p>
            <a:pPr>
              <a:buFont typeface="Wingdings" pitchFamily="2" charset="2"/>
              <a:buChar char="q"/>
            </a:pPr>
            <a:r>
              <a:rPr lang="ru-RU" sz="1600"/>
              <a:t>- репатриация на родину в случае госпитализации, ухудшения здоровья или смерти;</a:t>
            </a:r>
            <a:endParaRPr lang="ru-RU" sz="1600" i="1"/>
          </a:p>
          <a:p>
            <a:pPr>
              <a:buFont typeface="Wingdings" pitchFamily="2" charset="2"/>
              <a:buChar char="q"/>
            </a:pPr>
            <a:r>
              <a:rPr lang="ru-RU" sz="1600"/>
              <a:t>- сопровождение репатриируемого уполномоченным лицом;</a:t>
            </a:r>
            <a:endParaRPr lang="ru-RU" sz="1600" i="1"/>
          </a:p>
          <a:p>
            <a:pPr>
              <a:buFont typeface="Wingdings" pitchFamily="2" charset="2"/>
              <a:buChar char="q"/>
            </a:pPr>
            <a:r>
              <a:rPr lang="ru-RU" sz="1600"/>
              <a:t>- оплата телефонных переговоров, связанных с урегулированием страхового случая.</a:t>
            </a:r>
            <a:endParaRPr lang="ru-RU" sz="1600" i="1"/>
          </a:p>
          <a:p>
            <a:r>
              <a:rPr lang="ru-RU" sz="1600"/>
              <a:t>При необходимости, лимит ответственности может быть увеличен вплоть до 100 000 ЕВРО, а список услуг расширен страхованием гражданской ответственности, багажа, невозможности совершения поездки и предоставления специфических транспортных преференций.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X4URrd40itSqfYjTqYx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X4URrd40itSqfYjTqY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X4URrd40itSqfYjTqYx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X4URrd40itSqfYjTqYx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X4URrd40itSqfYjTqY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X4URrd40itSqfYjTqYx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X4URrd40itSqfYjTqYx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X4URrd40itSqfYjTqY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X4URrd40itSqfYjTqYx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X4URrd40itSqfYjTqY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X4URrd40itSqfYjTqY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X4URrd40itSqfYjTqY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X4URrd40itSqfYjTqYx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X4URrd40itSqfYjTqYx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X4URrd40itSqfYjTqY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X4URrd40itSqfYjTqYx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Апекс">
      <a:fillStyleLst>
        <a:solidFill>
          <a:schemeClr val="phClr"/>
        </a:solidFill>
        <a:gradFill rotWithShape="1">
          <a:gsLst>
            <a:gs pos="20000">
              <a:schemeClr val="phClr">
                <a:tint val="9000"/>
              </a:schemeClr>
            </a:gs>
            <a:gs pos="100000">
              <a:schemeClr val="phClr">
                <a:tint val="70000"/>
                <a:satMod val="100000"/>
              </a:schemeClr>
            </a:gs>
          </a:gsLst>
          <a:path path="circle">
            <a:fillToRect l="-15000" t="-15000" r="115000" b="115000"/>
          </a:path>
        </a:gradFill>
        <a:gradFill rotWithShape="1">
          <a:gsLst>
            <a:gs pos="0">
              <a:schemeClr val="phClr">
                <a:shade val="60000"/>
              </a:schemeClr>
            </a:gs>
            <a:gs pos="33000">
              <a:schemeClr val="phClr">
                <a:tint val="86500"/>
              </a:schemeClr>
            </a:gs>
            <a:gs pos="46750">
              <a:schemeClr val="phClr">
                <a:tint val="71000"/>
                <a:satMod val="112000"/>
              </a:schemeClr>
            </a:gs>
            <a:gs pos="53000">
              <a:schemeClr val="phClr">
                <a:tint val="71000"/>
                <a:satMod val="112000"/>
              </a:schemeClr>
            </a:gs>
            <a:gs pos="68000">
              <a:schemeClr val="phClr">
                <a:tint val="86000"/>
              </a:schemeClr>
            </a:gs>
            <a:gs pos="100000">
              <a:schemeClr val="phClr">
                <a:shade val="60000"/>
              </a:schemeClr>
            </a:gs>
          </a:gsLst>
          <a:lin ang="8350000" scaled="1"/>
        </a:gradFill>
      </a:fillStyleLst>
      <a:lnStyleLst>
        <a:ln w="9525" cap="flat" cmpd="sng" algn="ctr">
          <a:solidFill>
            <a:schemeClr val="phClr">
              <a:shade val="48000"/>
              <a:satMod val="11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30000" dist="101600" dir="2700000" algn="tl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994</TotalTime>
  <Words>1272</Words>
  <Application>Microsoft Office PowerPoint</Application>
  <PresentationFormat>Экран (4:3)</PresentationFormat>
  <Paragraphs>181</Paragraphs>
  <Slides>12</Slides>
  <Notes>2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Шаблон оформления</vt:lpstr>
      </vt:variant>
      <vt:variant>
        <vt:i4>5</vt:i4>
      </vt:variant>
      <vt:variant>
        <vt:lpstr>Заголовки слайдов</vt:lpstr>
      </vt:variant>
      <vt:variant>
        <vt:i4>12</vt:i4>
      </vt:variant>
    </vt:vector>
  </HeadingPairs>
  <TitlesOfParts>
    <vt:vector size="22" baseType="lpstr">
      <vt:lpstr>Arial</vt:lpstr>
      <vt:lpstr>Calibri</vt:lpstr>
      <vt:lpstr>MS PGothic</vt:lpstr>
      <vt:lpstr>Times New Roman</vt:lpstr>
      <vt:lpstr>Wingdings</vt:lpstr>
      <vt:lpstr>Тема Office</vt:lpstr>
      <vt:lpstr>1_Тема Office</vt:lpstr>
      <vt:lpstr>Тема Office</vt:lpstr>
      <vt:lpstr>Тема Office</vt:lpstr>
      <vt:lpstr>1_Тема Offic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рганизационная структура подразделений компании РК-Гарант</dc:title>
  <dc:creator>Кубик</dc:creator>
  <cp:lastModifiedBy>Пользователь</cp:lastModifiedBy>
  <cp:revision>379</cp:revision>
  <dcterms:created xsi:type="dcterms:W3CDTF">2010-07-05T19:03:21Z</dcterms:created>
  <dcterms:modified xsi:type="dcterms:W3CDTF">2011-03-25T11:52:19Z</dcterms:modified>
</cp:coreProperties>
</file>